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heme/themeOverride1.xml" ContentType="application/vnd.openxmlformats-officedocument.themeOverride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heme/themeOverride2.xml" ContentType="application/vnd.openxmlformats-officedocument.themeOverrid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4" r:id="rId1"/>
    <p:sldMasterId id="2147483657" r:id="rId2"/>
    <p:sldMasterId id="2147483671" r:id="rId3"/>
    <p:sldMasterId id="2147483711" r:id="rId4"/>
  </p:sldMasterIdLst>
  <p:notesMasterIdLst>
    <p:notesMasterId r:id="rId25"/>
  </p:notesMasterIdLst>
  <p:handoutMasterIdLst>
    <p:handoutMasterId r:id="rId26"/>
  </p:handoutMasterIdLst>
  <p:sldIdLst>
    <p:sldId id="285" r:id="rId5"/>
    <p:sldId id="274" r:id="rId6"/>
    <p:sldId id="275" r:id="rId7"/>
    <p:sldId id="294" r:id="rId8"/>
    <p:sldId id="287" r:id="rId9"/>
    <p:sldId id="314" r:id="rId10"/>
    <p:sldId id="302" r:id="rId11"/>
    <p:sldId id="303" r:id="rId12"/>
    <p:sldId id="304" r:id="rId13"/>
    <p:sldId id="295" r:id="rId14"/>
    <p:sldId id="284" r:id="rId15"/>
    <p:sldId id="305" r:id="rId16"/>
    <p:sldId id="310" r:id="rId17"/>
    <p:sldId id="306" r:id="rId18"/>
    <p:sldId id="307" r:id="rId19"/>
    <p:sldId id="308" r:id="rId20"/>
    <p:sldId id="309" r:id="rId21"/>
    <p:sldId id="311" r:id="rId22"/>
    <p:sldId id="312" r:id="rId23"/>
    <p:sldId id="313" r:id="rId24"/>
  </p:sldIdLst>
  <p:sldSz cx="9144000" cy="5143500" type="screen16x9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56" userDrawn="1">
          <p15:clr>
            <a:srgbClr val="A4A3A4"/>
          </p15:clr>
        </p15:guide>
        <p15:guide id="2" orient="horz" pos="690" userDrawn="1">
          <p15:clr>
            <a:srgbClr val="A4A3A4"/>
          </p15:clr>
        </p15:guide>
        <p15:guide id="3" pos="4898" userDrawn="1">
          <p15:clr>
            <a:srgbClr val="A4A3A4"/>
          </p15:clr>
        </p15:guide>
        <p15:guide id="4" pos="24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91D0"/>
    <a:srgbClr val="EEAA00"/>
    <a:srgbClr val="FFCE33"/>
    <a:srgbClr val="455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15" autoAdjust="0"/>
    <p:restoredTop sz="94628" autoAdjust="0"/>
  </p:normalViewPr>
  <p:slideViewPr>
    <p:cSldViewPr snapToGrid="0" showGuides="1">
      <p:cViewPr varScale="1">
        <p:scale>
          <a:sx n="117" d="100"/>
          <a:sy n="117" d="100"/>
        </p:scale>
        <p:origin x="546" y="90"/>
      </p:cViewPr>
      <p:guideLst>
        <p:guide orient="horz" pos="2856"/>
        <p:guide orient="horz" pos="690"/>
        <p:guide pos="4898"/>
        <p:guide pos="2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08" d="100"/>
          <a:sy n="108" d="100"/>
        </p:scale>
        <p:origin x="126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3372" y="0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D5FBFF-53BF-480C-9F05-5F606B695F86}" type="datetimeFigureOut">
              <a:rPr lang="en-GB" smtClean="0"/>
              <a:t>09/11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219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3372" y="6456219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BF0386-5CAB-4625-9EE5-1BB156E7F8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46859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3372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433F7C-24B9-4383-A9CE-B8D56D4CE730}" type="datetimeFigureOut">
              <a:rPr lang="de-DE" smtClean="0"/>
              <a:t>09.1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4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6218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3372" y="6456218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C385C7-A29A-4E6D-974C-CD6C51B88F5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3942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385C7-A29A-4E6D-974C-CD6C51B88F5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0679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5100" y="877888"/>
            <a:ext cx="7799388" cy="4386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E8B50F-F2EB-A049-9680-D93CEA67A57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103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5100" y="877888"/>
            <a:ext cx="7799388" cy="4386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E8B50F-F2EB-A049-9680-D93CEA67A57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852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 dirty="0" smtClean="0"/>
              <a:t>SB boja – puno pigmenta radi </a:t>
            </a:r>
            <a:r>
              <a:rPr lang="hr-HR" dirty="0" err="1" smtClean="0"/>
              <a:t>loseg</a:t>
            </a:r>
            <a:r>
              <a:rPr lang="hr-HR" dirty="0" smtClean="0"/>
              <a:t> transfera…</a:t>
            </a:r>
          </a:p>
          <a:p>
            <a:r>
              <a:rPr lang="hr-HR" dirty="0" smtClean="0"/>
              <a:t>Nema</a:t>
            </a:r>
            <a:r>
              <a:rPr lang="hr-HR" baseline="0" dirty="0" smtClean="0"/>
              <a:t> podešavanje više viskoziteta … kod vodene – jedna briga manje! Čovjek manje..</a:t>
            </a:r>
          </a:p>
          <a:p>
            <a:r>
              <a:rPr lang="hr-HR" baseline="0" dirty="0" smtClean="0"/>
              <a:t>Pigment WB nije RASTPOLJEN(DISOLVED) VEĆ JE DISPERGIRAN.</a:t>
            </a:r>
          </a:p>
          <a:p>
            <a:r>
              <a:rPr lang="hr-HR" baseline="0" dirty="0" smtClean="0"/>
              <a:t>prednost toga je stabilnost otiska i  boja se može puno jače </a:t>
            </a:r>
            <a:r>
              <a:rPr lang="hr-HR" baseline="0" dirty="0" err="1" smtClean="0"/>
              <a:t>pigmentirat</a:t>
            </a:r>
            <a:r>
              <a:rPr lang="hr-HR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385C7-A29A-4E6D-974C-CD6C51B88F5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276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5100" y="877888"/>
            <a:ext cx="7799388" cy="4386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E8B50F-F2EB-A049-9680-D93CEA67A571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0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87468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9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1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9.xml"/><Relationship Id="rId4" Type="http://schemas.openxmlformats.org/officeDocument/2006/relationships/tags" Target="../tags/tag11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4.xml"/><Relationship Id="rId4" Type="http://schemas.openxmlformats.org/officeDocument/2006/relationships/tags" Target="../tags/tag12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9.xml"/><Relationship Id="rId4" Type="http://schemas.openxmlformats.org/officeDocument/2006/relationships/tags" Target="../tags/tag12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4" Type="http://schemas.openxmlformats.org/officeDocument/2006/relationships/tags" Target="../tags/tag13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99964" y="2237085"/>
            <a:ext cx="4680520" cy="461665"/>
          </a:xfrm>
        </p:spPr>
        <p:txBody>
          <a:bodyPr wrap="square" anchor="b">
            <a:spAutoFit/>
          </a:bodyPr>
          <a:lstStyle>
            <a:lvl1pPr algn="l"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99964" y="2736850"/>
            <a:ext cx="4704084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err="1"/>
              <a:t>Author</a:t>
            </a:r>
            <a:r>
              <a:rPr lang="de-DE" dirty="0"/>
              <a:t>, Company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58879" y="1594190"/>
            <a:ext cx="6846401" cy="3865199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7092531" y="3125232"/>
            <a:ext cx="1480221" cy="124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</a:pPr>
            <a:r>
              <a:rPr lang="en-GB" sz="2200" b="1" dirty="0">
                <a:solidFill>
                  <a:schemeClr val="tx1"/>
                </a:solidFill>
                <a:latin typeface="Arial Narrow" panose="020B0606020202030204" pitchFamily="34" charset="0"/>
              </a:rPr>
              <a:t>Packaging for a More Sustainable World</a:t>
            </a:r>
          </a:p>
        </p:txBody>
      </p:sp>
      <p:grpSp>
        <p:nvGrpSpPr>
          <p:cNvPr id="2060" name="Group 2059"/>
          <p:cNvGrpSpPr/>
          <p:nvPr userDrawn="1"/>
        </p:nvGrpSpPr>
        <p:grpSpPr>
          <a:xfrm>
            <a:off x="5065786" y="239186"/>
            <a:ext cx="3822467" cy="941914"/>
            <a:chOff x="5168422" y="239186"/>
            <a:chExt cx="3696971" cy="910990"/>
          </a:xfrm>
        </p:grpSpPr>
        <p:grpSp>
          <p:nvGrpSpPr>
            <p:cNvPr id="2055" name="Group 2054"/>
            <p:cNvGrpSpPr/>
            <p:nvPr userDrawn="1"/>
          </p:nvGrpSpPr>
          <p:grpSpPr>
            <a:xfrm>
              <a:off x="7396630" y="411421"/>
              <a:ext cx="1468763" cy="737777"/>
              <a:chOff x="574675" y="339725"/>
              <a:chExt cx="3776663" cy="1897063"/>
            </a:xfrm>
          </p:grpSpPr>
          <p:sp>
            <p:nvSpPr>
              <p:cNvPr id="10" name="AutoShape 3"/>
              <p:cNvSpPr>
                <a:spLocks noChangeAspect="1" noChangeArrowheads="1" noTextEdit="1"/>
              </p:cNvSpPr>
              <p:nvPr userDrawn="1"/>
            </p:nvSpPr>
            <p:spPr bwMode="auto">
              <a:xfrm>
                <a:off x="574675" y="342900"/>
                <a:ext cx="3773488" cy="189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" name="Rectangle 5"/>
              <p:cNvSpPr>
                <a:spLocks noChangeArrowheads="1"/>
              </p:cNvSpPr>
              <p:nvPr userDrawn="1"/>
            </p:nvSpPr>
            <p:spPr bwMode="auto">
              <a:xfrm>
                <a:off x="577850" y="339725"/>
                <a:ext cx="3773488" cy="1893888"/>
              </a:xfrm>
              <a:prstGeom prst="rect">
                <a:avLst/>
              </a:prstGeom>
              <a:solidFill>
                <a:srgbClr val="0146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 userDrawn="1"/>
            </p:nvSpPr>
            <p:spPr bwMode="auto">
              <a:xfrm>
                <a:off x="577850" y="339725"/>
                <a:ext cx="3773488" cy="189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" name="Freeform 7"/>
              <p:cNvSpPr>
                <a:spLocks noEditPoints="1"/>
              </p:cNvSpPr>
              <p:nvPr userDrawn="1"/>
            </p:nvSpPr>
            <p:spPr bwMode="auto">
              <a:xfrm>
                <a:off x="1050925" y="811213"/>
                <a:ext cx="504825" cy="509588"/>
              </a:xfrm>
              <a:custGeom>
                <a:avLst/>
                <a:gdLst>
                  <a:gd name="T0" fmla="*/ 98 w 318"/>
                  <a:gd name="T1" fmla="*/ 223 h 321"/>
                  <a:gd name="T2" fmla="*/ 98 w 318"/>
                  <a:gd name="T3" fmla="*/ 98 h 321"/>
                  <a:gd name="T4" fmla="*/ 220 w 318"/>
                  <a:gd name="T5" fmla="*/ 98 h 321"/>
                  <a:gd name="T6" fmla="*/ 220 w 318"/>
                  <a:gd name="T7" fmla="*/ 223 h 321"/>
                  <a:gd name="T8" fmla="*/ 98 w 318"/>
                  <a:gd name="T9" fmla="*/ 223 h 321"/>
                  <a:gd name="T10" fmla="*/ 318 w 318"/>
                  <a:gd name="T11" fmla="*/ 0 h 321"/>
                  <a:gd name="T12" fmla="*/ 0 w 318"/>
                  <a:gd name="T13" fmla="*/ 0 h 321"/>
                  <a:gd name="T14" fmla="*/ 0 w 318"/>
                  <a:gd name="T15" fmla="*/ 321 h 321"/>
                  <a:gd name="T16" fmla="*/ 318 w 318"/>
                  <a:gd name="T17" fmla="*/ 321 h 321"/>
                  <a:gd name="T18" fmla="*/ 318 w 318"/>
                  <a:gd name="T19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8" h="321">
                    <a:moveTo>
                      <a:pt x="98" y="223"/>
                    </a:moveTo>
                    <a:lnTo>
                      <a:pt x="98" y="98"/>
                    </a:lnTo>
                    <a:lnTo>
                      <a:pt x="220" y="98"/>
                    </a:lnTo>
                    <a:lnTo>
                      <a:pt x="220" y="223"/>
                    </a:lnTo>
                    <a:lnTo>
                      <a:pt x="98" y="223"/>
                    </a:lnTo>
                    <a:close/>
                    <a:moveTo>
                      <a:pt x="318" y="0"/>
                    </a:moveTo>
                    <a:lnTo>
                      <a:pt x="0" y="0"/>
                    </a:lnTo>
                    <a:lnTo>
                      <a:pt x="0" y="321"/>
                    </a:lnTo>
                    <a:lnTo>
                      <a:pt x="318" y="321"/>
                    </a:lnTo>
                    <a:lnTo>
                      <a:pt x="318" y="0"/>
                    </a:lnTo>
                    <a:close/>
                  </a:path>
                </a:pathLst>
              </a:custGeom>
              <a:solidFill>
                <a:srgbClr val="9FA7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" name="Freeform 8"/>
              <p:cNvSpPr>
                <a:spLocks noEditPoints="1"/>
              </p:cNvSpPr>
              <p:nvPr userDrawn="1"/>
            </p:nvSpPr>
            <p:spPr bwMode="auto">
              <a:xfrm>
                <a:off x="1050925" y="811213"/>
                <a:ext cx="504825" cy="509588"/>
              </a:xfrm>
              <a:custGeom>
                <a:avLst/>
                <a:gdLst>
                  <a:gd name="T0" fmla="*/ 98 w 318"/>
                  <a:gd name="T1" fmla="*/ 223 h 321"/>
                  <a:gd name="T2" fmla="*/ 98 w 318"/>
                  <a:gd name="T3" fmla="*/ 98 h 321"/>
                  <a:gd name="T4" fmla="*/ 220 w 318"/>
                  <a:gd name="T5" fmla="*/ 98 h 321"/>
                  <a:gd name="T6" fmla="*/ 220 w 318"/>
                  <a:gd name="T7" fmla="*/ 223 h 321"/>
                  <a:gd name="T8" fmla="*/ 98 w 318"/>
                  <a:gd name="T9" fmla="*/ 223 h 321"/>
                  <a:gd name="T10" fmla="*/ 318 w 318"/>
                  <a:gd name="T11" fmla="*/ 0 h 321"/>
                  <a:gd name="T12" fmla="*/ 0 w 318"/>
                  <a:gd name="T13" fmla="*/ 0 h 321"/>
                  <a:gd name="T14" fmla="*/ 0 w 318"/>
                  <a:gd name="T15" fmla="*/ 321 h 321"/>
                  <a:gd name="T16" fmla="*/ 318 w 318"/>
                  <a:gd name="T17" fmla="*/ 321 h 321"/>
                  <a:gd name="T18" fmla="*/ 318 w 318"/>
                  <a:gd name="T19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8" h="321">
                    <a:moveTo>
                      <a:pt x="98" y="223"/>
                    </a:moveTo>
                    <a:lnTo>
                      <a:pt x="98" y="98"/>
                    </a:lnTo>
                    <a:lnTo>
                      <a:pt x="220" y="98"/>
                    </a:lnTo>
                    <a:lnTo>
                      <a:pt x="220" y="223"/>
                    </a:lnTo>
                    <a:lnTo>
                      <a:pt x="98" y="223"/>
                    </a:lnTo>
                    <a:moveTo>
                      <a:pt x="318" y="0"/>
                    </a:moveTo>
                    <a:lnTo>
                      <a:pt x="0" y="0"/>
                    </a:lnTo>
                    <a:lnTo>
                      <a:pt x="0" y="321"/>
                    </a:lnTo>
                    <a:lnTo>
                      <a:pt x="318" y="321"/>
                    </a:lnTo>
                    <a:lnTo>
                      <a:pt x="31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 userDrawn="1"/>
            </p:nvSpPr>
            <p:spPr bwMode="auto">
              <a:xfrm>
                <a:off x="1712913" y="966788"/>
                <a:ext cx="192088" cy="198438"/>
              </a:xfrm>
              <a:prstGeom prst="rect">
                <a:avLst/>
              </a:prstGeom>
              <a:solidFill>
                <a:srgbClr val="9FA7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" name="Rectangle 10"/>
              <p:cNvSpPr>
                <a:spLocks noChangeArrowheads="1"/>
              </p:cNvSpPr>
              <p:nvPr userDrawn="1"/>
            </p:nvSpPr>
            <p:spPr bwMode="auto">
              <a:xfrm>
                <a:off x="1712913" y="966788"/>
                <a:ext cx="192088" cy="1984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Freeform 11"/>
              <p:cNvSpPr>
                <a:spLocks noEditPoints="1"/>
              </p:cNvSpPr>
              <p:nvPr userDrawn="1"/>
            </p:nvSpPr>
            <p:spPr bwMode="auto">
              <a:xfrm>
                <a:off x="2062163" y="811213"/>
                <a:ext cx="461963" cy="509588"/>
              </a:xfrm>
              <a:custGeom>
                <a:avLst/>
                <a:gdLst>
                  <a:gd name="T0" fmla="*/ 0 w 139"/>
                  <a:gd name="T1" fmla="*/ 0 h 153"/>
                  <a:gd name="T2" fmla="*/ 85 w 139"/>
                  <a:gd name="T3" fmla="*/ 0 h 153"/>
                  <a:gd name="T4" fmla="*/ 131 w 139"/>
                  <a:gd name="T5" fmla="*/ 40 h 153"/>
                  <a:gd name="T6" fmla="*/ 111 w 139"/>
                  <a:gd name="T7" fmla="*/ 71 h 153"/>
                  <a:gd name="T8" fmla="*/ 139 w 139"/>
                  <a:gd name="T9" fmla="*/ 108 h 153"/>
                  <a:gd name="T10" fmla="*/ 85 w 139"/>
                  <a:gd name="T11" fmla="*/ 153 h 153"/>
                  <a:gd name="T12" fmla="*/ 0 w 139"/>
                  <a:gd name="T13" fmla="*/ 153 h 153"/>
                  <a:gd name="T14" fmla="*/ 0 w 139"/>
                  <a:gd name="T15" fmla="*/ 0 h 153"/>
                  <a:gd name="T16" fmla="*/ 47 w 139"/>
                  <a:gd name="T17" fmla="*/ 118 h 153"/>
                  <a:gd name="T18" fmla="*/ 77 w 139"/>
                  <a:gd name="T19" fmla="*/ 118 h 153"/>
                  <a:gd name="T20" fmla="*/ 93 w 139"/>
                  <a:gd name="T21" fmla="*/ 104 h 153"/>
                  <a:gd name="T22" fmla="*/ 79 w 139"/>
                  <a:gd name="T23" fmla="*/ 91 h 153"/>
                  <a:gd name="T24" fmla="*/ 47 w 139"/>
                  <a:gd name="T25" fmla="*/ 91 h 153"/>
                  <a:gd name="T26" fmla="*/ 47 w 139"/>
                  <a:gd name="T27" fmla="*/ 118 h 153"/>
                  <a:gd name="T28" fmla="*/ 47 w 139"/>
                  <a:gd name="T29" fmla="*/ 60 h 153"/>
                  <a:gd name="T30" fmla="*/ 71 w 139"/>
                  <a:gd name="T31" fmla="*/ 60 h 153"/>
                  <a:gd name="T32" fmla="*/ 87 w 139"/>
                  <a:gd name="T33" fmla="*/ 47 h 153"/>
                  <a:gd name="T34" fmla="*/ 75 w 139"/>
                  <a:gd name="T35" fmla="*/ 36 h 153"/>
                  <a:gd name="T36" fmla="*/ 47 w 139"/>
                  <a:gd name="T37" fmla="*/ 36 h 153"/>
                  <a:gd name="T38" fmla="*/ 47 w 139"/>
                  <a:gd name="T39" fmla="*/ 60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9" h="153">
                    <a:moveTo>
                      <a:pt x="0" y="0"/>
                    </a:moveTo>
                    <a:cubicBezTo>
                      <a:pt x="0" y="0"/>
                      <a:pt x="71" y="0"/>
                      <a:pt x="85" y="0"/>
                    </a:cubicBezTo>
                    <a:cubicBezTo>
                      <a:pt x="116" y="0"/>
                      <a:pt x="131" y="21"/>
                      <a:pt x="131" y="40"/>
                    </a:cubicBezTo>
                    <a:cubicBezTo>
                      <a:pt x="131" y="54"/>
                      <a:pt x="125" y="63"/>
                      <a:pt x="111" y="71"/>
                    </a:cubicBezTo>
                    <a:cubicBezTo>
                      <a:pt x="129" y="77"/>
                      <a:pt x="139" y="89"/>
                      <a:pt x="139" y="108"/>
                    </a:cubicBezTo>
                    <a:cubicBezTo>
                      <a:pt x="139" y="129"/>
                      <a:pt x="123" y="153"/>
                      <a:pt x="85" y="153"/>
                    </a:cubicBezTo>
                    <a:cubicBezTo>
                      <a:pt x="65" y="153"/>
                      <a:pt x="0" y="153"/>
                      <a:pt x="0" y="153"/>
                    </a:cubicBezTo>
                    <a:lnTo>
                      <a:pt x="0" y="0"/>
                    </a:lnTo>
                    <a:close/>
                    <a:moveTo>
                      <a:pt x="47" y="118"/>
                    </a:moveTo>
                    <a:cubicBezTo>
                      <a:pt x="47" y="118"/>
                      <a:pt x="66" y="118"/>
                      <a:pt x="77" y="118"/>
                    </a:cubicBezTo>
                    <a:cubicBezTo>
                      <a:pt x="88" y="118"/>
                      <a:pt x="93" y="110"/>
                      <a:pt x="93" y="104"/>
                    </a:cubicBezTo>
                    <a:cubicBezTo>
                      <a:pt x="93" y="107"/>
                      <a:pt x="95" y="91"/>
                      <a:pt x="79" y="91"/>
                    </a:cubicBezTo>
                    <a:cubicBezTo>
                      <a:pt x="71" y="91"/>
                      <a:pt x="47" y="91"/>
                      <a:pt x="47" y="91"/>
                    </a:cubicBezTo>
                    <a:lnTo>
                      <a:pt x="47" y="118"/>
                    </a:lnTo>
                    <a:close/>
                    <a:moveTo>
                      <a:pt x="47" y="60"/>
                    </a:moveTo>
                    <a:cubicBezTo>
                      <a:pt x="47" y="60"/>
                      <a:pt x="61" y="60"/>
                      <a:pt x="71" y="60"/>
                    </a:cubicBezTo>
                    <a:cubicBezTo>
                      <a:pt x="83" y="60"/>
                      <a:pt x="87" y="55"/>
                      <a:pt x="87" y="47"/>
                    </a:cubicBezTo>
                    <a:cubicBezTo>
                      <a:pt x="87" y="46"/>
                      <a:pt x="87" y="36"/>
                      <a:pt x="75" y="36"/>
                    </a:cubicBezTo>
                    <a:cubicBezTo>
                      <a:pt x="80" y="36"/>
                      <a:pt x="47" y="36"/>
                      <a:pt x="47" y="36"/>
                    </a:cubicBezTo>
                    <a:lnTo>
                      <a:pt x="47" y="6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12"/>
              <p:cNvSpPr>
                <a:spLocks noEditPoints="1"/>
              </p:cNvSpPr>
              <p:nvPr userDrawn="1"/>
            </p:nvSpPr>
            <p:spPr bwMode="auto">
              <a:xfrm>
                <a:off x="2497138" y="811213"/>
                <a:ext cx="536575" cy="506413"/>
              </a:xfrm>
              <a:custGeom>
                <a:avLst/>
                <a:gdLst>
                  <a:gd name="T0" fmla="*/ 118 w 338"/>
                  <a:gd name="T1" fmla="*/ 0 h 319"/>
                  <a:gd name="T2" fmla="*/ 221 w 338"/>
                  <a:gd name="T3" fmla="*/ 0 h 319"/>
                  <a:gd name="T4" fmla="*/ 338 w 338"/>
                  <a:gd name="T5" fmla="*/ 319 h 319"/>
                  <a:gd name="T6" fmla="*/ 233 w 338"/>
                  <a:gd name="T7" fmla="*/ 319 h 319"/>
                  <a:gd name="T8" fmla="*/ 216 w 338"/>
                  <a:gd name="T9" fmla="*/ 273 h 319"/>
                  <a:gd name="T10" fmla="*/ 118 w 338"/>
                  <a:gd name="T11" fmla="*/ 273 h 319"/>
                  <a:gd name="T12" fmla="*/ 105 w 338"/>
                  <a:gd name="T13" fmla="*/ 319 h 319"/>
                  <a:gd name="T14" fmla="*/ 0 w 338"/>
                  <a:gd name="T15" fmla="*/ 319 h 319"/>
                  <a:gd name="T16" fmla="*/ 118 w 338"/>
                  <a:gd name="T17" fmla="*/ 0 h 319"/>
                  <a:gd name="T18" fmla="*/ 164 w 338"/>
                  <a:gd name="T19" fmla="*/ 94 h 319"/>
                  <a:gd name="T20" fmla="*/ 139 w 338"/>
                  <a:gd name="T21" fmla="*/ 201 h 319"/>
                  <a:gd name="T22" fmla="*/ 195 w 338"/>
                  <a:gd name="T23" fmla="*/ 201 h 319"/>
                  <a:gd name="T24" fmla="*/ 164 w 338"/>
                  <a:gd name="T25" fmla="*/ 94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8" h="319">
                    <a:moveTo>
                      <a:pt x="118" y="0"/>
                    </a:moveTo>
                    <a:lnTo>
                      <a:pt x="221" y="0"/>
                    </a:lnTo>
                    <a:lnTo>
                      <a:pt x="338" y="319"/>
                    </a:lnTo>
                    <a:lnTo>
                      <a:pt x="233" y="319"/>
                    </a:lnTo>
                    <a:lnTo>
                      <a:pt x="216" y="273"/>
                    </a:lnTo>
                    <a:lnTo>
                      <a:pt x="118" y="273"/>
                    </a:lnTo>
                    <a:lnTo>
                      <a:pt x="105" y="319"/>
                    </a:lnTo>
                    <a:lnTo>
                      <a:pt x="0" y="319"/>
                    </a:lnTo>
                    <a:lnTo>
                      <a:pt x="118" y="0"/>
                    </a:lnTo>
                    <a:close/>
                    <a:moveTo>
                      <a:pt x="164" y="94"/>
                    </a:moveTo>
                    <a:lnTo>
                      <a:pt x="139" y="201"/>
                    </a:lnTo>
                    <a:lnTo>
                      <a:pt x="195" y="201"/>
                    </a:lnTo>
                    <a:lnTo>
                      <a:pt x="164" y="9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" name="Freeform 13"/>
              <p:cNvSpPr>
                <a:spLocks/>
              </p:cNvSpPr>
              <p:nvPr userDrawn="1"/>
            </p:nvSpPr>
            <p:spPr bwMode="auto">
              <a:xfrm>
                <a:off x="3000375" y="796925"/>
                <a:ext cx="461963" cy="538163"/>
              </a:xfrm>
              <a:custGeom>
                <a:avLst/>
                <a:gdLst>
                  <a:gd name="T0" fmla="*/ 88 w 139"/>
                  <a:gd name="T1" fmla="*/ 50 h 161"/>
                  <a:gd name="T2" fmla="*/ 135 w 139"/>
                  <a:gd name="T3" fmla="*/ 50 h 161"/>
                  <a:gd name="T4" fmla="*/ 69 w 139"/>
                  <a:gd name="T5" fmla="*/ 0 h 161"/>
                  <a:gd name="T6" fmla="*/ 3 w 139"/>
                  <a:gd name="T7" fmla="*/ 48 h 161"/>
                  <a:gd name="T8" fmla="*/ 45 w 139"/>
                  <a:gd name="T9" fmla="*/ 90 h 161"/>
                  <a:gd name="T10" fmla="*/ 82 w 139"/>
                  <a:gd name="T11" fmla="*/ 101 h 161"/>
                  <a:gd name="T12" fmla="*/ 93 w 139"/>
                  <a:gd name="T13" fmla="*/ 113 h 161"/>
                  <a:gd name="T14" fmla="*/ 73 w 139"/>
                  <a:gd name="T15" fmla="*/ 126 h 161"/>
                  <a:gd name="T16" fmla="*/ 49 w 139"/>
                  <a:gd name="T17" fmla="*/ 104 h 161"/>
                  <a:gd name="T18" fmla="*/ 0 w 139"/>
                  <a:gd name="T19" fmla="*/ 104 h 161"/>
                  <a:gd name="T20" fmla="*/ 70 w 139"/>
                  <a:gd name="T21" fmla="*/ 161 h 161"/>
                  <a:gd name="T22" fmla="*/ 139 w 139"/>
                  <a:gd name="T23" fmla="*/ 109 h 161"/>
                  <a:gd name="T24" fmla="*/ 112 w 139"/>
                  <a:gd name="T25" fmla="*/ 70 h 161"/>
                  <a:gd name="T26" fmla="*/ 71 w 139"/>
                  <a:gd name="T27" fmla="*/ 58 h 161"/>
                  <a:gd name="T28" fmla="*/ 50 w 139"/>
                  <a:gd name="T29" fmla="*/ 44 h 161"/>
                  <a:gd name="T30" fmla="*/ 68 w 139"/>
                  <a:gd name="T31" fmla="*/ 33 h 161"/>
                  <a:gd name="T32" fmla="*/ 88 w 139"/>
                  <a:gd name="T33" fmla="*/ 5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9" h="161">
                    <a:moveTo>
                      <a:pt x="88" y="50"/>
                    </a:moveTo>
                    <a:cubicBezTo>
                      <a:pt x="135" y="50"/>
                      <a:pt x="135" y="50"/>
                      <a:pt x="135" y="50"/>
                    </a:cubicBezTo>
                    <a:cubicBezTo>
                      <a:pt x="135" y="24"/>
                      <a:pt x="116" y="0"/>
                      <a:pt x="69" y="0"/>
                    </a:cubicBezTo>
                    <a:cubicBezTo>
                      <a:pt x="19" y="0"/>
                      <a:pt x="3" y="28"/>
                      <a:pt x="3" y="48"/>
                    </a:cubicBezTo>
                    <a:cubicBezTo>
                      <a:pt x="3" y="81"/>
                      <a:pt x="43" y="90"/>
                      <a:pt x="45" y="90"/>
                    </a:cubicBezTo>
                    <a:cubicBezTo>
                      <a:pt x="51" y="92"/>
                      <a:pt x="76" y="99"/>
                      <a:pt x="82" y="101"/>
                    </a:cubicBezTo>
                    <a:cubicBezTo>
                      <a:pt x="87" y="103"/>
                      <a:pt x="93" y="107"/>
                      <a:pt x="93" y="113"/>
                    </a:cubicBezTo>
                    <a:cubicBezTo>
                      <a:pt x="93" y="122"/>
                      <a:pt x="82" y="126"/>
                      <a:pt x="73" y="126"/>
                    </a:cubicBezTo>
                    <a:cubicBezTo>
                      <a:pt x="68" y="126"/>
                      <a:pt x="49" y="124"/>
                      <a:pt x="49" y="104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31"/>
                      <a:pt x="19" y="161"/>
                      <a:pt x="70" y="161"/>
                    </a:cubicBezTo>
                    <a:cubicBezTo>
                      <a:pt x="127" y="161"/>
                      <a:pt x="139" y="127"/>
                      <a:pt x="139" y="109"/>
                    </a:cubicBezTo>
                    <a:cubicBezTo>
                      <a:pt x="139" y="94"/>
                      <a:pt x="131" y="78"/>
                      <a:pt x="112" y="70"/>
                    </a:cubicBezTo>
                    <a:cubicBezTo>
                      <a:pt x="100" y="65"/>
                      <a:pt x="81" y="61"/>
                      <a:pt x="71" y="58"/>
                    </a:cubicBezTo>
                    <a:cubicBezTo>
                      <a:pt x="66" y="57"/>
                      <a:pt x="50" y="54"/>
                      <a:pt x="50" y="44"/>
                    </a:cubicBezTo>
                    <a:cubicBezTo>
                      <a:pt x="50" y="31"/>
                      <a:pt x="71" y="33"/>
                      <a:pt x="68" y="33"/>
                    </a:cubicBezTo>
                    <a:cubicBezTo>
                      <a:pt x="77" y="33"/>
                      <a:pt x="88" y="38"/>
                      <a:pt x="88" y="5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14"/>
              <p:cNvSpPr>
                <a:spLocks/>
              </p:cNvSpPr>
              <p:nvPr userDrawn="1"/>
            </p:nvSpPr>
            <p:spPr bwMode="auto">
              <a:xfrm>
                <a:off x="3489325" y="811213"/>
                <a:ext cx="388938" cy="509588"/>
              </a:xfrm>
              <a:custGeom>
                <a:avLst/>
                <a:gdLst>
                  <a:gd name="T0" fmla="*/ 0 w 245"/>
                  <a:gd name="T1" fmla="*/ 0 h 321"/>
                  <a:gd name="T2" fmla="*/ 245 w 245"/>
                  <a:gd name="T3" fmla="*/ 0 h 321"/>
                  <a:gd name="T4" fmla="*/ 245 w 245"/>
                  <a:gd name="T5" fmla="*/ 86 h 321"/>
                  <a:gd name="T6" fmla="*/ 99 w 245"/>
                  <a:gd name="T7" fmla="*/ 86 h 321"/>
                  <a:gd name="T8" fmla="*/ 99 w 245"/>
                  <a:gd name="T9" fmla="*/ 140 h 321"/>
                  <a:gd name="T10" fmla="*/ 229 w 245"/>
                  <a:gd name="T11" fmla="*/ 140 h 321"/>
                  <a:gd name="T12" fmla="*/ 229 w 245"/>
                  <a:gd name="T13" fmla="*/ 223 h 321"/>
                  <a:gd name="T14" fmla="*/ 99 w 245"/>
                  <a:gd name="T15" fmla="*/ 223 h 321"/>
                  <a:gd name="T16" fmla="*/ 99 w 245"/>
                  <a:gd name="T17" fmla="*/ 321 h 321"/>
                  <a:gd name="T18" fmla="*/ 0 w 245"/>
                  <a:gd name="T19" fmla="*/ 321 h 321"/>
                  <a:gd name="T20" fmla="*/ 0 w 245"/>
                  <a:gd name="T21" fmla="*/ 0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5" h="321">
                    <a:moveTo>
                      <a:pt x="0" y="0"/>
                    </a:moveTo>
                    <a:lnTo>
                      <a:pt x="245" y="0"/>
                    </a:lnTo>
                    <a:lnTo>
                      <a:pt x="245" y="86"/>
                    </a:lnTo>
                    <a:lnTo>
                      <a:pt x="99" y="86"/>
                    </a:lnTo>
                    <a:lnTo>
                      <a:pt x="99" y="140"/>
                    </a:lnTo>
                    <a:lnTo>
                      <a:pt x="229" y="140"/>
                    </a:lnTo>
                    <a:lnTo>
                      <a:pt x="229" y="223"/>
                    </a:lnTo>
                    <a:lnTo>
                      <a:pt x="99" y="223"/>
                    </a:lnTo>
                    <a:lnTo>
                      <a:pt x="99" y="321"/>
                    </a:lnTo>
                    <a:lnTo>
                      <a:pt x="0" y="3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" name="Freeform 15"/>
              <p:cNvSpPr>
                <a:spLocks/>
              </p:cNvSpPr>
              <p:nvPr userDrawn="1"/>
            </p:nvSpPr>
            <p:spPr bwMode="auto">
              <a:xfrm>
                <a:off x="1050925" y="1538288"/>
                <a:ext cx="276225" cy="220663"/>
              </a:xfrm>
              <a:custGeom>
                <a:avLst/>
                <a:gdLst>
                  <a:gd name="T0" fmla="*/ 125 w 174"/>
                  <a:gd name="T1" fmla="*/ 116 h 139"/>
                  <a:gd name="T2" fmla="*/ 125 w 174"/>
                  <a:gd name="T3" fmla="*/ 116 h 139"/>
                  <a:gd name="T4" fmla="*/ 96 w 174"/>
                  <a:gd name="T5" fmla="*/ 0 h 139"/>
                  <a:gd name="T6" fmla="*/ 77 w 174"/>
                  <a:gd name="T7" fmla="*/ 0 h 139"/>
                  <a:gd name="T8" fmla="*/ 46 w 174"/>
                  <a:gd name="T9" fmla="*/ 116 h 139"/>
                  <a:gd name="T10" fmla="*/ 44 w 174"/>
                  <a:gd name="T11" fmla="*/ 116 h 139"/>
                  <a:gd name="T12" fmla="*/ 44 w 174"/>
                  <a:gd name="T13" fmla="*/ 116 h 139"/>
                  <a:gd name="T14" fmla="*/ 16 w 174"/>
                  <a:gd name="T15" fmla="*/ 0 h 139"/>
                  <a:gd name="T16" fmla="*/ 0 w 174"/>
                  <a:gd name="T17" fmla="*/ 0 h 139"/>
                  <a:gd name="T18" fmla="*/ 35 w 174"/>
                  <a:gd name="T19" fmla="*/ 139 h 139"/>
                  <a:gd name="T20" fmla="*/ 52 w 174"/>
                  <a:gd name="T21" fmla="*/ 139 h 139"/>
                  <a:gd name="T22" fmla="*/ 86 w 174"/>
                  <a:gd name="T23" fmla="*/ 21 h 139"/>
                  <a:gd name="T24" fmla="*/ 86 w 174"/>
                  <a:gd name="T25" fmla="*/ 21 h 139"/>
                  <a:gd name="T26" fmla="*/ 86 w 174"/>
                  <a:gd name="T27" fmla="*/ 21 h 139"/>
                  <a:gd name="T28" fmla="*/ 117 w 174"/>
                  <a:gd name="T29" fmla="*/ 139 h 139"/>
                  <a:gd name="T30" fmla="*/ 136 w 174"/>
                  <a:gd name="T31" fmla="*/ 139 h 139"/>
                  <a:gd name="T32" fmla="*/ 174 w 174"/>
                  <a:gd name="T33" fmla="*/ 0 h 139"/>
                  <a:gd name="T34" fmla="*/ 155 w 174"/>
                  <a:gd name="T35" fmla="*/ 0 h 139"/>
                  <a:gd name="T36" fmla="*/ 128 w 174"/>
                  <a:gd name="T37" fmla="*/ 116 h 139"/>
                  <a:gd name="T38" fmla="*/ 125 w 174"/>
                  <a:gd name="T39" fmla="*/ 116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4" h="139">
                    <a:moveTo>
                      <a:pt x="125" y="116"/>
                    </a:moveTo>
                    <a:lnTo>
                      <a:pt x="125" y="116"/>
                    </a:lnTo>
                    <a:lnTo>
                      <a:pt x="96" y="0"/>
                    </a:lnTo>
                    <a:lnTo>
                      <a:pt x="77" y="0"/>
                    </a:lnTo>
                    <a:lnTo>
                      <a:pt x="46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16" y="0"/>
                    </a:lnTo>
                    <a:lnTo>
                      <a:pt x="0" y="0"/>
                    </a:lnTo>
                    <a:lnTo>
                      <a:pt x="35" y="139"/>
                    </a:lnTo>
                    <a:lnTo>
                      <a:pt x="52" y="139"/>
                    </a:lnTo>
                    <a:lnTo>
                      <a:pt x="86" y="21"/>
                    </a:lnTo>
                    <a:lnTo>
                      <a:pt x="86" y="21"/>
                    </a:lnTo>
                    <a:lnTo>
                      <a:pt x="86" y="21"/>
                    </a:lnTo>
                    <a:lnTo>
                      <a:pt x="117" y="139"/>
                    </a:lnTo>
                    <a:lnTo>
                      <a:pt x="136" y="139"/>
                    </a:lnTo>
                    <a:lnTo>
                      <a:pt x="174" y="0"/>
                    </a:lnTo>
                    <a:lnTo>
                      <a:pt x="155" y="0"/>
                    </a:lnTo>
                    <a:lnTo>
                      <a:pt x="128" y="116"/>
                    </a:lnTo>
                    <a:lnTo>
                      <a:pt x="125" y="11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" name="Freeform 16"/>
              <p:cNvSpPr>
                <a:spLocks noEditPoints="1"/>
              </p:cNvSpPr>
              <p:nvPr userDrawn="1"/>
            </p:nvSpPr>
            <p:spPr bwMode="auto">
              <a:xfrm>
                <a:off x="1323975" y="1595438"/>
                <a:ext cx="146050" cy="166688"/>
              </a:xfrm>
              <a:custGeom>
                <a:avLst/>
                <a:gdLst>
                  <a:gd name="T0" fmla="*/ 40 w 44"/>
                  <a:gd name="T1" fmla="*/ 10 h 50"/>
                  <a:gd name="T2" fmla="*/ 33 w 44"/>
                  <a:gd name="T3" fmla="*/ 3 h 50"/>
                  <a:gd name="T4" fmla="*/ 22 w 44"/>
                  <a:gd name="T5" fmla="*/ 0 h 50"/>
                  <a:gd name="T6" fmla="*/ 14 w 44"/>
                  <a:gd name="T7" fmla="*/ 2 h 50"/>
                  <a:gd name="T8" fmla="*/ 6 w 44"/>
                  <a:gd name="T9" fmla="*/ 7 h 50"/>
                  <a:gd name="T10" fmla="*/ 2 w 44"/>
                  <a:gd name="T11" fmla="*/ 15 h 50"/>
                  <a:gd name="T12" fmla="*/ 0 w 44"/>
                  <a:gd name="T13" fmla="*/ 25 h 50"/>
                  <a:gd name="T14" fmla="*/ 2 w 44"/>
                  <a:gd name="T15" fmla="*/ 35 h 50"/>
                  <a:gd name="T16" fmla="*/ 6 w 44"/>
                  <a:gd name="T17" fmla="*/ 43 h 50"/>
                  <a:gd name="T18" fmla="*/ 13 w 44"/>
                  <a:gd name="T19" fmla="*/ 48 h 50"/>
                  <a:gd name="T20" fmla="*/ 23 w 44"/>
                  <a:gd name="T21" fmla="*/ 50 h 50"/>
                  <a:gd name="T22" fmla="*/ 36 w 44"/>
                  <a:gd name="T23" fmla="*/ 46 h 50"/>
                  <a:gd name="T24" fmla="*/ 43 w 44"/>
                  <a:gd name="T25" fmla="*/ 34 h 50"/>
                  <a:gd name="T26" fmla="*/ 36 w 44"/>
                  <a:gd name="T27" fmla="*/ 34 h 50"/>
                  <a:gd name="T28" fmla="*/ 32 w 44"/>
                  <a:gd name="T29" fmla="*/ 41 h 50"/>
                  <a:gd name="T30" fmla="*/ 23 w 44"/>
                  <a:gd name="T31" fmla="*/ 43 h 50"/>
                  <a:gd name="T32" fmla="*/ 16 w 44"/>
                  <a:gd name="T33" fmla="*/ 42 h 50"/>
                  <a:gd name="T34" fmla="*/ 11 w 44"/>
                  <a:gd name="T35" fmla="*/ 39 h 50"/>
                  <a:gd name="T36" fmla="*/ 9 w 44"/>
                  <a:gd name="T37" fmla="*/ 34 h 50"/>
                  <a:gd name="T38" fmla="*/ 8 w 44"/>
                  <a:gd name="T39" fmla="*/ 27 h 50"/>
                  <a:gd name="T40" fmla="*/ 8 w 44"/>
                  <a:gd name="T41" fmla="*/ 27 h 50"/>
                  <a:gd name="T42" fmla="*/ 44 w 44"/>
                  <a:gd name="T43" fmla="*/ 27 h 50"/>
                  <a:gd name="T44" fmla="*/ 43 w 44"/>
                  <a:gd name="T45" fmla="*/ 18 h 50"/>
                  <a:gd name="T46" fmla="*/ 40 w 44"/>
                  <a:gd name="T47" fmla="*/ 10 h 50"/>
                  <a:gd name="T48" fmla="*/ 8 w 44"/>
                  <a:gd name="T49" fmla="*/ 21 h 50"/>
                  <a:gd name="T50" fmla="*/ 8 w 44"/>
                  <a:gd name="T51" fmla="*/ 20 h 50"/>
                  <a:gd name="T52" fmla="*/ 9 w 44"/>
                  <a:gd name="T53" fmla="*/ 15 h 50"/>
                  <a:gd name="T54" fmla="*/ 12 w 44"/>
                  <a:gd name="T55" fmla="*/ 11 h 50"/>
                  <a:gd name="T56" fmla="*/ 16 w 44"/>
                  <a:gd name="T57" fmla="*/ 8 h 50"/>
                  <a:gd name="T58" fmla="*/ 22 w 44"/>
                  <a:gd name="T59" fmla="*/ 7 h 50"/>
                  <a:gd name="T60" fmla="*/ 27 w 44"/>
                  <a:gd name="T61" fmla="*/ 8 h 50"/>
                  <a:gd name="T62" fmla="*/ 32 w 44"/>
                  <a:gd name="T63" fmla="*/ 11 h 50"/>
                  <a:gd name="T64" fmla="*/ 35 w 44"/>
                  <a:gd name="T65" fmla="*/ 15 h 50"/>
                  <a:gd name="T66" fmla="*/ 36 w 44"/>
                  <a:gd name="T67" fmla="*/ 20 h 50"/>
                  <a:gd name="T68" fmla="*/ 36 w 44"/>
                  <a:gd name="T69" fmla="*/ 21 h 50"/>
                  <a:gd name="T70" fmla="*/ 8 w 44"/>
                  <a:gd name="T71" fmla="*/ 2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4" h="50">
                    <a:moveTo>
                      <a:pt x="40" y="10"/>
                    </a:moveTo>
                    <a:cubicBezTo>
                      <a:pt x="38" y="7"/>
                      <a:pt x="36" y="5"/>
                      <a:pt x="33" y="3"/>
                    </a:cubicBezTo>
                    <a:cubicBezTo>
                      <a:pt x="30" y="1"/>
                      <a:pt x="27" y="0"/>
                      <a:pt x="22" y="0"/>
                    </a:cubicBezTo>
                    <a:cubicBezTo>
                      <a:pt x="19" y="0"/>
                      <a:pt x="16" y="1"/>
                      <a:pt x="14" y="2"/>
                    </a:cubicBezTo>
                    <a:cubicBezTo>
                      <a:pt x="11" y="3"/>
                      <a:pt x="8" y="5"/>
                      <a:pt x="6" y="7"/>
                    </a:cubicBezTo>
                    <a:cubicBezTo>
                      <a:pt x="4" y="9"/>
                      <a:pt x="3" y="12"/>
                      <a:pt x="2" y="15"/>
                    </a:cubicBezTo>
                    <a:cubicBezTo>
                      <a:pt x="1" y="18"/>
                      <a:pt x="0" y="21"/>
                      <a:pt x="0" y="25"/>
                    </a:cubicBezTo>
                    <a:cubicBezTo>
                      <a:pt x="0" y="29"/>
                      <a:pt x="1" y="32"/>
                      <a:pt x="2" y="35"/>
                    </a:cubicBezTo>
                    <a:cubicBezTo>
                      <a:pt x="3" y="38"/>
                      <a:pt x="4" y="41"/>
                      <a:pt x="6" y="43"/>
                    </a:cubicBezTo>
                    <a:cubicBezTo>
                      <a:pt x="8" y="45"/>
                      <a:pt x="10" y="47"/>
                      <a:pt x="13" y="48"/>
                    </a:cubicBezTo>
                    <a:cubicBezTo>
                      <a:pt x="16" y="49"/>
                      <a:pt x="19" y="50"/>
                      <a:pt x="23" y="50"/>
                    </a:cubicBezTo>
                    <a:cubicBezTo>
                      <a:pt x="28" y="50"/>
                      <a:pt x="33" y="48"/>
                      <a:pt x="36" y="46"/>
                    </a:cubicBezTo>
                    <a:cubicBezTo>
                      <a:pt x="40" y="43"/>
                      <a:pt x="42" y="39"/>
                      <a:pt x="43" y="34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35" y="37"/>
                      <a:pt x="34" y="40"/>
                      <a:pt x="32" y="41"/>
                    </a:cubicBezTo>
                    <a:cubicBezTo>
                      <a:pt x="29" y="43"/>
                      <a:pt x="27" y="43"/>
                      <a:pt x="23" y="43"/>
                    </a:cubicBezTo>
                    <a:cubicBezTo>
                      <a:pt x="21" y="43"/>
                      <a:pt x="18" y="43"/>
                      <a:pt x="16" y="42"/>
                    </a:cubicBezTo>
                    <a:cubicBezTo>
                      <a:pt x="14" y="41"/>
                      <a:pt x="13" y="40"/>
                      <a:pt x="11" y="39"/>
                    </a:cubicBezTo>
                    <a:cubicBezTo>
                      <a:pt x="10" y="37"/>
                      <a:pt x="9" y="35"/>
                      <a:pt x="9" y="34"/>
                    </a:cubicBezTo>
                    <a:cubicBezTo>
                      <a:pt x="8" y="32"/>
                      <a:pt x="8" y="30"/>
                      <a:pt x="8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4" y="24"/>
                      <a:pt x="44" y="21"/>
                      <a:pt x="43" y="18"/>
                    </a:cubicBezTo>
                    <a:cubicBezTo>
                      <a:pt x="42" y="15"/>
                      <a:pt x="41" y="12"/>
                      <a:pt x="40" y="10"/>
                    </a:cubicBezTo>
                    <a:moveTo>
                      <a:pt x="8" y="21"/>
                    </a:moveTo>
                    <a:cubicBezTo>
                      <a:pt x="8" y="20"/>
                      <a:pt x="8" y="20"/>
                      <a:pt x="8" y="20"/>
                    </a:cubicBezTo>
                    <a:cubicBezTo>
                      <a:pt x="8" y="19"/>
                      <a:pt x="9" y="17"/>
                      <a:pt x="9" y="15"/>
                    </a:cubicBezTo>
                    <a:cubicBezTo>
                      <a:pt x="10" y="14"/>
                      <a:pt x="11" y="12"/>
                      <a:pt x="12" y="11"/>
                    </a:cubicBezTo>
                    <a:cubicBezTo>
                      <a:pt x="13" y="10"/>
                      <a:pt x="15" y="9"/>
                      <a:pt x="16" y="8"/>
                    </a:cubicBezTo>
                    <a:cubicBezTo>
                      <a:pt x="18" y="7"/>
                      <a:pt x="20" y="7"/>
                      <a:pt x="22" y="7"/>
                    </a:cubicBezTo>
                    <a:cubicBezTo>
                      <a:pt x="24" y="7"/>
                      <a:pt x="26" y="7"/>
                      <a:pt x="27" y="8"/>
                    </a:cubicBezTo>
                    <a:cubicBezTo>
                      <a:pt x="29" y="9"/>
                      <a:pt x="31" y="10"/>
                      <a:pt x="32" y="11"/>
                    </a:cubicBezTo>
                    <a:cubicBezTo>
                      <a:pt x="33" y="12"/>
                      <a:pt x="34" y="13"/>
                      <a:pt x="35" y="15"/>
                    </a:cubicBezTo>
                    <a:cubicBezTo>
                      <a:pt x="35" y="17"/>
                      <a:pt x="36" y="19"/>
                      <a:pt x="36" y="20"/>
                    </a:cubicBezTo>
                    <a:cubicBezTo>
                      <a:pt x="36" y="21"/>
                      <a:pt x="36" y="21"/>
                      <a:pt x="36" y="21"/>
                    </a:cubicBezTo>
                    <a:lnTo>
                      <a:pt x="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" name="Freeform 17"/>
              <p:cNvSpPr>
                <a:spLocks/>
              </p:cNvSpPr>
              <p:nvPr userDrawn="1"/>
            </p:nvSpPr>
            <p:spPr bwMode="auto">
              <a:xfrm>
                <a:off x="1579563" y="1595438"/>
                <a:ext cx="142875" cy="166688"/>
              </a:xfrm>
              <a:custGeom>
                <a:avLst/>
                <a:gdLst>
                  <a:gd name="T0" fmla="*/ 22 w 43"/>
                  <a:gd name="T1" fmla="*/ 43 h 50"/>
                  <a:gd name="T2" fmla="*/ 16 w 43"/>
                  <a:gd name="T3" fmla="*/ 42 h 50"/>
                  <a:gd name="T4" fmla="*/ 11 w 43"/>
                  <a:gd name="T5" fmla="*/ 38 h 50"/>
                  <a:gd name="T6" fmla="*/ 9 w 43"/>
                  <a:gd name="T7" fmla="*/ 32 h 50"/>
                  <a:gd name="T8" fmla="*/ 8 w 43"/>
                  <a:gd name="T9" fmla="*/ 26 h 50"/>
                  <a:gd name="T10" fmla="*/ 9 w 43"/>
                  <a:gd name="T11" fmla="*/ 19 h 50"/>
                  <a:gd name="T12" fmla="*/ 11 w 43"/>
                  <a:gd name="T13" fmla="*/ 13 h 50"/>
                  <a:gd name="T14" fmla="*/ 16 w 43"/>
                  <a:gd name="T15" fmla="*/ 8 h 50"/>
                  <a:gd name="T16" fmla="*/ 23 w 43"/>
                  <a:gd name="T17" fmla="*/ 7 h 50"/>
                  <a:gd name="T18" fmla="*/ 31 w 43"/>
                  <a:gd name="T19" fmla="*/ 9 h 50"/>
                  <a:gd name="T20" fmla="*/ 35 w 43"/>
                  <a:gd name="T21" fmla="*/ 16 h 50"/>
                  <a:gd name="T22" fmla="*/ 43 w 43"/>
                  <a:gd name="T23" fmla="*/ 16 h 50"/>
                  <a:gd name="T24" fmla="*/ 41 w 43"/>
                  <a:gd name="T25" fmla="*/ 9 h 50"/>
                  <a:gd name="T26" fmla="*/ 36 w 43"/>
                  <a:gd name="T27" fmla="*/ 4 h 50"/>
                  <a:gd name="T28" fmla="*/ 30 w 43"/>
                  <a:gd name="T29" fmla="*/ 1 h 50"/>
                  <a:gd name="T30" fmla="*/ 23 w 43"/>
                  <a:gd name="T31" fmla="*/ 0 h 50"/>
                  <a:gd name="T32" fmla="*/ 13 w 43"/>
                  <a:gd name="T33" fmla="*/ 2 h 50"/>
                  <a:gd name="T34" fmla="*/ 6 w 43"/>
                  <a:gd name="T35" fmla="*/ 8 h 50"/>
                  <a:gd name="T36" fmla="*/ 2 w 43"/>
                  <a:gd name="T37" fmla="*/ 16 h 50"/>
                  <a:gd name="T38" fmla="*/ 0 w 43"/>
                  <a:gd name="T39" fmla="*/ 26 h 50"/>
                  <a:gd name="T40" fmla="*/ 2 w 43"/>
                  <a:gd name="T41" fmla="*/ 35 h 50"/>
                  <a:gd name="T42" fmla="*/ 6 w 43"/>
                  <a:gd name="T43" fmla="*/ 43 h 50"/>
                  <a:gd name="T44" fmla="*/ 13 w 43"/>
                  <a:gd name="T45" fmla="*/ 48 h 50"/>
                  <a:gd name="T46" fmla="*/ 22 w 43"/>
                  <a:gd name="T47" fmla="*/ 50 h 50"/>
                  <a:gd name="T48" fmla="*/ 37 w 43"/>
                  <a:gd name="T49" fmla="*/ 45 h 50"/>
                  <a:gd name="T50" fmla="*/ 43 w 43"/>
                  <a:gd name="T51" fmla="*/ 32 h 50"/>
                  <a:gd name="T52" fmla="*/ 36 w 43"/>
                  <a:gd name="T53" fmla="*/ 32 h 50"/>
                  <a:gd name="T54" fmla="*/ 32 w 43"/>
                  <a:gd name="T55" fmla="*/ 40 h 50"/>
                  <a:gd name="T56" fmla="*/ 22 w 43"/>
                  <a:gd name="T57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3" h="50">
                    <a:moveTo>
                      <a:pt x="22" y="43"/>
                    </a:moveTo>
                    <a:cubicBezTo>
                      <a:pt x="20" y="43"/>
                      <a:pt x="18" y="43"/>
                      <a:pt x="16" y="42"/>
                    </a:cubicBezTo>
                    <a:cubicBezTo>
                      <a:pt x="14" y="41"/>
                      <a:pt x="12" y="40"/>
                      <a:pt x="11" y="38"/>
                    </a:cubicBezTo>
                    <a:cubicBezTo>
                      <a:pt x="10" y="36"/>
                      <a:pt x="9" y="34"/>
                      <a:pt x="9" y="32"/>
                    </a:cubicBezTo>
                    <a:cubicBezTo>
                      <a:pt x="8" y="30"/>
                      <a:pt x="8" y="28"/>
                      <a:pt x="8" y="26"/>
                    </a:cubicBezTo>
                    <a:cubicBezTo>
                      <a:pt x="8" y="23"/>
                      <a:pt x="8" y="21"/>
                      <a:pt x="9" y="19"/>
                    </a:cubicBezTo>
                    <a:cubicBezTo>
                      <a:pt x="9" y="16"/>
                      <a:pt x="10" y="14"/>
                      <a:pt x="11" y="13"/>
                    </a:cubicBezTo>
                    <a:cubicBezTo>
                      <a:pt x="12" y="11"/>
                      <a:pt x="14" y="9"/>
                      <a:pt x="16" y="8"/>
                    </a:cubicBezTo>
                    <a:cubicBezTo>
                      <a:pt x="18" y="7"/>
                      <a:pt x="20" y="7"/>
                      <a:pt x="23" y="7"/>
                    </a:cubicBezTo>
                    <a:cubicBezTo>
                      <a:pt x="27" y="7"/>
                      <a:pt x="29" y="8"/>
                      <a:pt x="31" y="9"/>
                    </a:cubicBezTo>
                    <a:cubicBezTo>
                      <a:pt x="33" y="11"/>
                      <a:pt x="35" y="13"/>
                      <a:pt x="35" y="16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3" y="14"/>
                      <a:pt x="42" y="11"/>
                      <a:pt x="41" y="9"/>
                    </a:cubicBezTo>
                    <a:cubicBezTo>
                      <a:pt x="40" y="7"/>
                      <a:pt x="38" y="6"/>
                      <a:pt x="36" y="4"/>
                    </a:cubicBezTo>
                    <a:cubicBezTo>
                      <a:pt x="35" y="3"/>
                      <a:pt x="32" y="2"/>
                      <a:pt x="30" y="1"/>
                    </a:cubicBezTo>
                    <a:cubicBezTo>
                      <a:pt x="28" y="1"/>
                      <a:pt x="25" y="0"/>
                      <a:pt x="23" y="0"/>
                    </a:cubicBezTo>
                    <a:cubicBezTo>
                      <a:pt x="19" y="0"/>
                      <a:pt x="16" y="1"/>
                      <a:pt x="13" y="2"/>
                    </a:cubicBezTo>
                    <a:cubicBezTo>
                      <a:pt x="10" y="4"/>
                      <a:pt x="8" y="5"/>
                      <a:pt x="6" y="8"/>
                    </a:cubicBezTo>
                    <a:cubicBezTo>
                      <a:pt x="4" y="10"/>
                      <a:pt x="2" y="13"/>
                      <a:pt x="2" y="16"/>
                    </a:cubicBezTo>
                    <a:cubicBezTo>
                      <a:pt x="1" y="19"/>
                      <a:pt x="0" y="22"/>
                      <a:pt x="0" y="26"/>
                    </a:cubicBezTo>
                    <a:cubicBezTo>
                      <a:pt x="0" y="29"/>
                      <a:pt x="1" y="33"/>
                      <a:pt x="2" y="35"/>
                    </a:cubicBezTo>
                    <a:cubicBezTo>
                      <a:pt x="3" y="38"/>
                      <a:pt x="4" y="41"/>
                      <a:pt x="6" y="43"/>
                    </a:cubicBezTo>
                    <a:cubicBezTo>
                      <a:pt x="8" y="45"/>
                      <a:pt x="10" y="47"/>
                      <a:pt x="13" y="48"/>
                    </a:cubicBezTo>
                    <a:cubicBezTo>
                      <a:pt x="16" y="49"/>
                      <a:pt x="19" y="50"/>
                      <a:pt x="22" y="50"/>
                    </a:cubicBezTo>
                    <a:cubicBezTo>
                      <a:pt x="28" y="50"/>
                      <a:pt x="33" y="48"/>
                      <a:pt x="37" y="45"/>
                    </a:cubicBezTo>
                    <a:cubicBezTo>
                      <a:pt x="40" y="42"/>
                      <a:pt x="42" y="37"/>
                      <a:pt x="43" y="32"/>
                    </a:cubicBezTo>
                    <a:cubicBezTo>
                      <a:pt x="36" y="32"/>
                      <a:pt x="36" y="32"/>
                      <a:pt x="36" y="32"/>
                    </a:cubicBezTo>
                    <a:cubicBezTo>
                      <a:pt x="35" y="35"/>
                      <a:pt x="34" y="38"/>
                      <a:pt x="32" y="40"/>
                    </a:cubicBezTo>
                    <a:cubicBezTo>
                      <a:pt x="29" y="42"/>
                      <a:pt x="26" y="43"/>
                      <a:pt x="22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" name="Freeform 18"/>
              <p:cNvSpPr>
                <a:spLocks/>
              </p:cNvSpPr>
              <p:nvPr userDrawn="1"/>
            </p:nvSpPr>
            <p:spPr bwMode="auto">
              <a:xfrm>
                <a:off x="1755775" y="1595438"/>
                <a:ext cx="79375" cy="163513"/>
              </a:xfrm>
              <a:custGeom>
                <a:avLst/>
                <a:gdLst>
                  <a:gd name="T0" fmla="*/ 14 w 24"/>
                  <a:gd name="T1" fmla="*/ 3 h 49"/>
                  <a:gd name="T2" fmla="*/ 7 w 24"/>
                  <a:gd name="T3" fmla="*/ 11 h 49"/>
                  <a:gd name="T4" fmla="*/ 7 w 24"/>
                  <a:gd name="T5" fmla="*/ 11 h 49"/>
                  <a:gd name="T6" fmla="*/ 7 w 24"/>
                  <a:gd name="T7" fmla="*/ 11 h 49"/>
                  <a:gd name="T8" fmla="*/ 7 w 24"/>
                  <a:gd name="T9" fmla="*/ 1 h 49"/>
                  <a:gd name="T10" fmla="*/ 0 w 24"/>
                  <a:gd name="T11" fmla="*/ 1 h 49"/>
                  <a:gd name="T12" fmla="*/ 0 w 24"/>
                  <a:gd name="T13" fmla="*/ 49 h 49"/>
                  <a:gd name="T14" fmla="*/ 7 w 24"/>
                  <a:gd name="T15" fmla="*/ 49 h 49"/>
                  <a:gd name="T16" fmla="*/ 7 w 24"/>
                  <a:gd name="T17" fmla="*/ 28 h 49"/>
                  <a:gd name="T18" fmla="*/ 8 w 24"/>
                  <a:gd name="T19" fmla="*/ 19 h 49"/>
                  <a:gd name="T20" fmla="*/ 11 w 24"/>
                  <a:gd name="T21" fmla="*/ 13 h 49"/>
                  <a:gd name="T22" fmla="*/ 17 w 24"/>
                  <a:gd name="T23" fmla="*/ 9 h 49"/>
                  <a:gd name="T24" fmla="*/ 24 w 24"/>
                  <a:gd name="T25" fmla="*/ 8 h 49"/>
                  <a:gd name="T26" fmla="*/ 24 w 24"/>
                  <a:gd name="T27" fmla="*/ 0 h 49"/>
                  <a:gd name="T28" fmla="*/ 24 w 24"/>
                  <a:gd name="T29" fmla="*/ 0 h 49"/>
                  <a:gd name="T30" fmla="*/ 14 w 24"/>
                  <a:gd name="T31" fmla="*/ 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4" h="49">
                    <a:moveTo>
                      <a:pt x="14" y="3"/>
                    </a:moveTo>
                    <a:cubicBezTo>
                      <a:pt x="12" y="5"/>
                      <a:pt x="9" y="8"/>
                      <a:pt x="7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7" y="25"/>
                      <a:pt x="7" y="22"/>
                      <a:pt x="8" y="19"/>
                    </a:cubicBezTo>
                    <a:cubicBezTo>
                      <a:pt x="9" y="17"/>
                      <a:pt x="10" y="15"/>
                      <a:pt x="11" y="13"/>
                    </a:cubicBezTo>
                    <a:cubicBezTo>
                      <a:pt x="12" y="12"/>
                      <a:pt x="14" y="10"/>
                      <a:pt x="17" y="9"/>
                    </a:cubicBezTo>
                    <a:cubicBezTo>
                      <a:pt x="19" y="9"/>
                      <a:pt x="21" y="8"/>
                      <a:pt x="24" y="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0"/>
                      <a:pt x="17" y="1"/>
                      <a:pt x="14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" name="Freeform 19"/>
              <p:cNvSpPr>
                <a:spLocks noEditPoints="1"/>
              </p:cNvSpPr>
              <p:nvPr userDrawn="1"/>
            </p:nvSpPr>
            <p:spPr bwMode="auto">
              <a:xfrm>
                <a:off x="1838325" y="1595438"/>
                <a:ext cx="147638" cy="166688"/>
              </a:xfrm>
              <a:custGeom>
                <a:avLst/>
                <a:gdLst>
                  <a:gd name="T0" fmla="*/ 40 w 44"/>
                  <a:gd name="T1" fmla="*/ 10 h 50"/>
                  <a:gd name="T2" fmla="*/ 33 w 44"/>
                  <a:gd name="T3" fmla="*/ 3 h 50"/>
                  <a:gd name="T4" fmla="*/ 23 w 44"/>
                  <a:gd name="T5" fmla="*/ 0 h 50"/>
                  <a:gd name="T6" fmla="*/ 14 w 44"/>
                  <a:gd name="T7" fmla="*/ 2 h 50"/>
                  <a:gd name="T8" fmla="*/ 7 w 44"/>
                  <a:gd name="T9" fmla="*/ 7 h 50"/>
                  <a:gd name="T10" fmla="*/ 2 w 44"/>
                  <a:gd name="T11" fmla="*/ 15 h 50"/>
                  <a:gd name="T12" fmla="*/ 0 w 44"/>
                  <a:gd name="T13" fmla="*/ 25 h 50"/>
                  <a:gd name="T14" fmla="*/ 2 w 44"/>
                  <a:gd name="T15" fmla="*/ 35 h 50"/>
                  <a:gd name="T16" fmla="*/ 6 w 44"/>
                  <a:gd name="T17" fmla="*/ 43 h 50"/>
                  <a:gd name="T18" fmla="*/ 13 w 44"/>
                  <a:gd name="T19" fmla="*/ 48 h 50"/>
                  <a:gd name="T20" fmla="*/ 23 w 44"/>
                  <a:gd name="T21" fmla="*/ 50 h 50"/>
                  <a:gd name="T22" fmla="*/ 36 w 44"/>
                  <a:gd name="T23" fmla="*/ 46 h 50"/>
                  <a:gd name="T24" fmla="*/ 43 w 44"/>
                  <a:gd name="T25" fmla="*/ 34 h 50"/>
                  <a:gd name="T26" fmla="*/ 36 w 44"/>
                  <a:gd name="T27" fmla="*/ 34 h 50"/>
                  <a:gd name="T28" fmla="*/ 32 w 44"/>
                  <a:gd name="T29" fmla="*/ 41 h 50"/>
                  <a:gd name="T30" fmla="*/ 23 w 44"/>
                  <a:gd name="T31" fmla="*/ 43 h 50"/>
                  <a:gd name="T32" fmla="*/ 16 w 44"/>
                  <a:gd name="T33" fmla="*/ 42 h 50"/>
                  <a:gd name="T34" fmla="*/ 12 w 44"/>
                  <a:gd name="T35" fmla="*/ 39 h 50"/>
                  <a:gd name="T36" fmla="*/ 9 w 44"/>
                  <a:gd name="T37" fmla="*/ 34 h 50"/>
                  <a:gd name="T38" fmla="*/ 8 w 44"/>
                  <a:gd name="T39" fmla="*/ 27 h 50"/>
                  <a:gd name="T40" fmla="*/ 8 w 44"/>
                  <a:gd name="T41" fmla="*/ 27 h 50"/>
                  <a:gd name="T42" fmla="*/ 44 w 44"/>
                  <a:gd name="T43" fmla="*/ 27 h 50"/>
                  <a:gd name="T44" fmla="*/ 43 w 44"/>
                  <a:gd name="T45" fmla="*/ 18 h 50"/>
                  <a:gd name="T46" fmla="*/ 40 w 44"/>
                  <a:gd name="T47" fmla="*/ 10 h 50"/>
                  <a:gd name="T48" fmla="*/ 8 w 44"/>
                  <a:gd name="T49" fmla="*/ 21 h 50"/>
                  <a:gd name="T50" fmla="*/ 8 w 44"/>
                  <a:gd name="T51" fmla="*/ 20 h 50"/>
                  <a:gd name="T52" fmla="*/ 9 w 44"/>
                  <a:gd name="T53" fmla="*/ 15 h 50"/>
                  <a:gd name="T54" fmla="*/ 12 w 44"/>
                  <a:gd name="T55" fmla="*/ 11 h 50"/>
                  <a:gd name="T56" fmla="*/ 17 w 44"/>
                  <a:gd name="T57" fmla="*/ 8 h 50"/>
                  <a:gd name="T58" fmla="*/ 22 w 44"/>
                  <a:gd name="T59" fmla="*/ 7 h 50"/>
                  <a:gd name="T60" fmla="*/ 28 w 44"/>
                  <a:gd name="T61" fmla="*/ 8 h 50"/>
                  <a:gd name="T62" fmla="*/ 32 w 44"/>
                  <a:gd name="T63" fmla="*/ 11 h 50"/>
                  <a:gd name="T64" fmla="*/ 35 w 44"/>
                  <a:gd name="T65" fmla="*/ 15 h 50"/>
                  <a:gd name="T66" fmla="*/ 36 w 44"/>
                  <a:gd name="T67" fmla="*/ 20 h 50"/>
                  <a:gd name="T68" fmla="*/ 36 w 44"/>
                  <a:gd name="T69" fmla="*/ 21 h 50"/>
                  <a:gd name="T70" fmla="*/ 8 w 44"/>
                  <a:gd name="T71" fmla="*/ 2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4" h="50">
                    <a:moveTo>
                      <a:pt x="40" y="10"/>
                    </a:moveTo>
                    <a:cubicBezTo>
                      <a:pt x="38" y="7"/>
                      <a:pt x="36" y="5"/>
                      <a:pt x="33" y="3"/>
                    </a:cubicBezTo>
                    <a:cubicBezTo>
                      <a:pt x="30" y="1"/>
                      <a:pt x="27" y="0"/>
                      <a:pt x="23" y="0"/>
                    </a:cubicBezTo>
                    <a:cubicBezTo>
                      <a:pt x="19" y="0"/>
                      <a:pt x="16" y="1"/>
                      <a:pt x="14" y="2"/>
                    </a:cubicBezTo>
                    <a:cubicBezTo>
                      <a:pt x="11" y="3"/>
                      <a:pt x="9" y="5"/>
                      <a:pt x="7" y="7"/>
                    </a:cubicBezTo>
                    <a:cubicBezTo>
                      <a:pt x="5" y="9"/>
                      <a:pt x="3" y="12"/>
                      <a:pt x="2" y="15"/>
                    </a:cubicBezTo>
                    <a:cubicBezTo>
                      <a:pt x="1" y="18"/>
                      <a:pt x="0" y="21"/>
                      <a:pt x="0" y="25"/>
                    </a:cubicBezTo>
                    <a:cubicBezTo>
                      <a:pt x="0" y="29"/>
                      <a:pt x="1" y="32"/>
                      <a:pt x="2" y="35"/>
                    </a:cubicBezTo>
                    <a:cubicBezTo>
                      <a:pt x="3" y="38"/>
                      <a:pt x="4" y="41"/>
                      <a:pt x="6" y="43"/>
                    </a:cubicBezTo>
                    <a:cubicBezTo>
                      <a:pt x="8" y="45"/>
                      <a:pt x="10" y="47"/>
                      <a:pt x="13" y="48"/>
                    </a:cubicBezTo>
                    <a:cubicBezTo>
                      <a:pt x="16" y="49"/>
                      <a:pt x="19" y="50"/>
                      <a:pt x="23" y="50"/>
                    </a:cubicBezTo>
                    <a:cubicBezTo>
                      <a:pt x="28" y="50"/>
                      <a:pt x="33" y="48"/>
                      <a:pt x="36" y="46"/>
                    </a:cubicBezTo>
                    <a:cubicBezTo>
                      <a:pt x="40" y="43"/>
                      <a:pt x="42" y="39"/>
                      <a:pt x="43" y="34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35" y="37"/>
                      <a:pt x="34" y="40"/>
                      <a:pt x="32" y="41"/>
                    </a:cubicBezTo>
                    <a:cubicBezTo>
                      <a:pt x="30" y="43"/>
                      <a:pt x="27" y="43"/>
                      <a:pt x="23" y="43"/>
                    </a:cubicBezTo>
                    <a:cubicBezTo>
                      <a:pt x="21" y="43"/>
                      <a:pt x="18" y="43"/>
                      <a:pt x="16" y="42"/>
                    </a:cubicBezTo>
                    <a:cubicBezTo>
                      <a:pt x="15" y="41"/>
                      <a:pt x="13" y="40"/>
                      <a:pt x="12" y="39"/>
                    </a:cubicBezTo>
                    <a:cubicBezTo>
                      <a:pt x="10" y="37"/>
                      <a:pt x="9" y="35"/>
                      <a:pt x="9" y="34"/>
                    </a:cubicBezTo>
                    <a:cubicBezTo>
                      <a:pt x="8" y="32"/>
                      <a:pt x="8" y="30"/>
                      <a:pt x="8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4" y="24"/>
                      <a:pt x="44" y="21"/>
                      <a:pt x="43" y="18"/>
                    </a:cubicBezTo>
                    <a:cubicBezTo>
                      <a:pt x="43" y="15"/>
                      <a:pt x="41" y="12"/>
                      <a:pt x="40" y="10"/>
                    </a:cubicBezTo>
                    <a:moveTo>
                      <a:pt x="8" y="21"/>
                    </a:moveTo>
                    <a:cubicBezTo>
                      <a:pt x="8" y="20"/>
                      <a:pt x="8" y="20"/>
                      <a:pt x="8" y="20"/>
                    </a:cubicBezTo>
                    <a:cubicBezTo>
                      <a:pt x="8" y="19"/>
                      <a:pt x="9" y="17"/>
                      <a:pt x="9" y="15"/>
                    </a:cubicBezTo>
                    <a:cubicBezTo>
                      <a:pt x="10" y="14"/>
                      <a:pt x="11" y="12"/>
                      <a:pt x="12" y="11"/>
                    </a:cubicBezTo>
                    <a:cubicBezTo>
                      <a:pt x="13" y="10"/>
                      <a:pt x="15" y="9"/>
                      <a:pt x="17" y="8"/>
                    </a:cubicBezTo>
                    <a:cubicBezTo>
                      <a:pt x="18" y="7"/>
                      <a:pt x="20" y="7"/>
                      <a:pt x="22" y="7"/>
                    </a:cubicBezTo>
                    <a:cubicBezTo>
                      <a:pt x="24" y="7"/>
                      <a:pt x="26" y="7"/>
                      <a:pt x="28" y="8"/>
                    </a:cubicBezTo>
                    <a:cubicBezTo>
                      <a:pt x="29" y="9"/>
                      <a:pt x="31" y="10"/>
                      <a:pt x="32" y="11"/>
                    </a:cubicBezTo>
                    <a:cubicBezTo>
                      <a:pt x="33" y="12"/>
                      <a:pt x="34" y="13"/>
                      <a:pt x="35" y="15"/>
                    </a:cubicBezTo>
                    <a:cubicBezTo>
                      <a:pt x="36" y="17"/>
                      <a:pt x="36" y="19"/>
                      <a:pt x="36" y="20"/>
                    </a:cubicBezTo>
                    <a:cubicBezTo>
                      <a:pt x="36" y="21"/>
                      <a:pt x="36" y="21"/>
                      <a:pt x="36" y="21"/>
                    </a:cubicBezTo>
                    <a:lnTo>
                      <a:pt x="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" name="Freeform 20"/>
              <p:cNvSpPr>
                <a:spLocks noEditPoints="1"/>
              </p:cNvSpPr>
              <p:nvPr userDrawn="1"/>
            </p:nvSpPr>
            <p:spPr bwMode="auto">
              <a:xfrm>
                <a:off x="2011363" y="1595438"/>
                <a:ext cx="147638" cy="166688"/>
              </a:xfrm>
              <a:custGeom>
                <a:avLst/>
                <a:gdLst>
                  <a:gd name="T0" fmla="*/ 40 w 44"/>
                  <a:gd name="T1" fmla="*/ 42 h 50"/>
                  <a:gd name="T2" fmla="*/ 40 w 44"/>
                  <a:gd name="T3" fmla="*/ 38 h 50"/>
                  <a:gd name="T4" fmla="*/ 40 w 44"/>
                  <a:gd name="T5" fmla="*/ 13 h 50"/>
                  <a:gd name="T6" fmla="*/ 38 w 44"/>
                  <a:gd name="T7" fmla="*/ 7 h 50"/>
                  <a:gd name="T8" fmla="*/ 34 w 44"/>
                  <a:gd name="T9" fmla="*/ 3 h 50"/>
                  <a:gd name="T10" fmla="*/ 28 w 44"/>
                  <a:gd name="T11" fmla="*/ 1 h 50"/>
                  <a:gd name="T12" fmla="*/ 14 w 44"/>
                  <a:gd name="T13" fmla="*/ 1 h 50"/>
                  <a:gd name="T14" fmla="*/ 8 w 44"/>
                  <a:gd name="T15" fmla="*/ 4 h 50"/>
                  <a:gd name="T16" fmla="*/ 4 w 44"/>
                  <a:gd name="T17" fmla="*/ 9 h 50"/>
                  <a:gd name="T18" fmla="*/ 2 w 44"/>
                  <a:gd name="T19" fmla="*/ 16 h 50"/>
                  <a:gd name="T20" fmla="*/ 9 w 44"/>
                  <a:gd name="T21" fmla="*/ 16 h 50"/>
                  <a:gd name="T22" fmla="*/ 13 w 44"/>
                  <a:gd name="T23" fmla="*/ 9 h 50"/>
                  <a:gd name="T24" fmla="*/ 21 w 44"/>
                  <a:gd name="T25" fmla="*/ 7 h 50"/>
                  <a:gd name="T26" fmla="*/ 25 w 44"/>
                  <a:gd name="T27" fmla="*/ 7 h 50"/>
                  <a:gd name="T28" fmla="*/ 29 w 44"/>
                  <a:gd name="T29" fmla="*/ 8 h 50"/>
                  <a:gd name="T30" fmla="*/ 31 w 44"/>
                  <a:gd name="T31" fmla="*/ 11 h 50"/>
                  <a:gd name="T32" fmla="*/ 32 w 44"/>
                  <a:gd name="T33" fmla="*/ 15 h 50"/>
                  <a:gd name="T34" fmla="*/ 31 w 44"/>
                  <a:gd name="T35" fmla="*/ 19 h 50"/>
                  <a:gd name="T36" fmla="*/ 27 w 44"/>
                  <a:gd name="T37" fmla="*/ 20 h 50"/>
                  <a:gd name="T38" fmla="*/ 22 w 44"/>
                  <a:gd name="T39" fmla="*/ 21 h 50"/>
                  <a:gd name="T40" fmla="*/ 16 w 44"/>
                  <a:gd name="T41" fmla="*/ 22 h 50"/>
                  <a:gd name="T42" fmla="*/ 10 w 44"/>
                  <a:gd name="T43" fmla="*/ 24 h 50"/>
                  <a:gd name="T44" fmla="*/ 5 w 44"/>
                  <a:gd name="T45" fmla="*/ 26 h 50"/>
                  <a:gd name="T46" fmla="*/ 1 w 44"/>
                  <a:gd name="T47" fmla="*/ 30 h 50"/>
                  <a:gd name="T48" fmla="*/ 0 w 44"/>
                  <a:gd name="T49" fmla="*/ 37 h 50"/>
                  <a:gd name="T50" fmla="*/ 1 w 44"/>
                  <a:gd name="T51" fmla="*/ 43 h 50"/>
                  <a:gd name="T52" fmla="*/ 4 w 44"/>
                  <a:gd name="T53" fmla="*/ 47 h 50"/>
                  <a:gd name="T54" fmla="*/ 9 w 44"/>
                  <a:gd name="T55" fmla="*/ 49 h 50"/>
                  <a:gd name="T56" fmla="*/ 15 w 44"/>
                  <a:gd name="T57" fmla="*/ 50 h 50"/>
                  <a:gd name="T58" fmla="*/ 25 w 44"/>
                  <a:gd name="T59" fmla="*/ 48 h 50"/>
                  <a:gd name="T60" fmla="*/ 32 w 44"/>
                  <a:gd name="T61" fmla="*/ 43 h 50"/>
                  <a:gd name="T62" fmla="*/ 33 w 44"/>
                  <a:gd name="T63" fmla="*/ 42 h 50"/>
                  <a:gd name="T64" fmla="*/ 33 w 44"/>
                  <a:gd name="T65" fmla="*/ 43 h 50"/>
                  <a:gd name="T66" fmla="*/ 34 w 44"/>
                  <a:gd name="T67" fmla="*/ 48 h 50"/>
                  <a:gd name="T68" fmla="*/ 39 w 44"/>
                  <a:gd name="T69" fmla="*/ 50 h 50"/>
                  <a:gd name="T70" fmla="*/ 44 w 44"/>
                  <a:gd name="T71" fmla="*/ 49 h 50"/>
                  <a:gd name="T72" fmla="*/ 44 w 44"/>
                  <a:gd name="T73" fmla="*/ 43 h 50"/>
                  <a:gd name="T74" fmla="*/ 42 w 44"/>
                  <a:gd name="T75" fmla="*/ 43 h 50"/>
                  <a:gd name="T76" fmla="*/ 40 w 44"/>
                  <a:gd name="T77" fmla="*/ 42 h 50"/>
                  <a:gd name="T78" fmla="*/ 32 w 44"/>
                  <a:gd name="T79" fmla="*/ 32 h 50"/>
                  <a:gd name="T80" fmla="*/ 31 w 44"/>
                  <a:gd name="T81" fmla="*/ 36 h 50"/>
                  <a:gd name="T82" fmla="*/ 29 w 44"/>
                  <a:gd name="T83" fmla="*/ 40 h 50"/>
                  <a:gd name="T84" fmla="*/ 24 w 44"/>
                  <a:gd name="T85" fmla="*/ 42 h 50"/>
                  <a:gd name="T86" fmla="*/ 17 w 44"/>
                  <a:gd name="T87" fmla="*/ 43 h 50"/>
                  <a:gd name="T88" fmla="*/ 14 w 44"/>
                  <a:gd name="T89" fmla="*/ 43 h 50"/>
                  <a:gd name="T90" fmla="*/ 11 w 44"/>
                  <a:gd name="T91" fmla="*/ 42 h 50"/>
                  <a:gd name="T92" fmla="*/ 9 w 44"/>
                  <a:gd name="T93" fmla="*/ 40 h 50"/>
                  <a:gd name="T94" fmla="*/ 8 w 44"/>
                  <a:gd name="T95" fmla="*/ 36 h 50"/>
                  <a:gd name="T96" fmla="*/ 9 w 44"/>
                  <a:gd name="T97" fmla="*/ 31 h 50"/>
                  <a:gd name="T98" fmla="*/ 13 w 44"/>
                  <a:gd name="T99" fmla="*/ 29 h 50"/>
                  <a:gd name="T100" fmla="*/ 18 w 44"/>
                  <a:gd name="T101" fmla="*/ 27 h 50"/>
                  <a:gd name="T102" fmla="*/ 23 w 44"/>
                  <a:gd name="T103" fmla="*/ 27 h 50"/>
                  <a:gd name="T104" fmla="*/ 28 w 44"/>
                  <a:gd name="T105" fmla="*/ 26 h 50"/>
                  <a:gd name="T106" fmla="*/ 32 w 44"/>
                  <a:gd name="T107" fmla="*/ 24 h 50"/>
                  <a:gd name="T108" fmla="*/ 32 w 44"/>
                  <a:gd name="T109" fmla="*/ 24 h 50"/>
                  <a:gd name="T110" fmla="*/ 32 w 44"/>
                  <a:gd name="T111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4" h="50">
                    <a:moveTo>
                      <a:pt x="40" y="42"/>
                    </a:moveTo>
                    <a:cubicBezTo>
                      <a:pt x="40" y="41"/>
                      <a:pt x="40" y="40"/>
                      <a:pt x="40" y="38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40" y="10"/>
                      <a:pt x="39" y="8"/>
                      <a:pt x="38" y="7"/>
                    </a:cubicBezTo>
                    <a:cubicBezTo>
                      <a:pt x="37" y="5"/>
                      <a:pt x="36" y="4"/>
                      <a:pt x="34" y="3"/>
                    </a:cubicBezTo>
                    <a:cubicBezTo>
                      <a:pt x="32" y="2"/>
                      <a:pt x="30" y="1"/>
                      <a:pt x="28" y="1"/>
                    </a:cubicBezTo>
                    <a:cubicBezTo>
                      <a:pt x="23" y="0"/>
                      <a:pt x="19" y="0"/>
                      <a:pt x="14" y="1"/>
                    </a:cubicBezTo>
                    <a:cubicBezTo>
                      <a:pt x="12" y="2"/>
                      <a:pt x="10" y="3"/>
                      <a:pt x="8" y="4"/>
                    </a:cubicBezTo>
                    <a:cubicBezTo>
                      <a:pt x="6" y="5"/>
                      <a:pt x="5" y="7"/>
                      <a:pt x="4" y="9"/>
                    </a:cubicBezTo>
                    <a:cubicBezTo>
                      <a:pt x="3" y="11"/>
                      <a:pt x="2" y="13"/>
                      <a:pt x="2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2"/>
                      <a:pt x="11" y="10"/>
                      <a:pt x="13" y="9"/>
                    </a:cubicBezTo>
                    <a:cubicBezTo>
                      <a:pt x="15" y="7"/>
                      <a:pt x="18" y="7"/>
                      <a:pt x="21" y="7"/>
                    </a:cubicBezTo>
                    <a:cubicBezTo>
                      <a:pt x="23" y="7"/>
                      <a:pt x="24" y="7"/>
                      <a:pt x="25" y="7"/>
                    </a:cubicBezTo>
                    <a:cubicBezTo>
                      <a:pt x="26" y="7"/>
                      <a:pt x="28" y="8"/>
                      <a:pt x="29" y="8"/>
                    </a:cubicBezTo>
                    <a:cubicBezTo>
                      <a:pt x="30" y="9"/>
                      <a:pt x="31" y="10"/>
                      <a:pt x="31" y="11"/>
                    </a:cubicBezTo>
                    <a:cubicBezTo>
                      <a:pt x="32" y="12"/>
                      <a:pt x="32" y="13"/>
                      <a:pt x="32" y="15"/>
                    </a:cubicBezTo>
                    <a:cubicBezTo>
                      <a:pt x="32" y="16"/>
                      <a:pt x="32" y="18"/>
                      <a:pt x="31" y="19"/>
                    </a:cubicBezTo>
                    <a:cubicBezTo>
                      <a:pt x="30" y="19"/>
                      <a:pt x="29" y="20"/>
                      <a:pt x="27" y="20"/>
                    </a:cubicBezTo>
                    <a:cubicBezTo>
                      <a:pt x="26" y="21"/>
                      <a:pt x="24" y="21"/>
                      <a:pt x="22" y="21"/>
                    </a:cubicBezTo>
                    <a:cubicBezTo>
                      <a:pt x="20" y="21"/>
                      <a:pt x="18" y="22"/>
                      <a:pt x="16" y="22"/>
                    </a:cubicBezTo>
                    <a:cubicBezTo>
                      <a:pt x="14" y="23"/>
                      <a:pt x="12" y="23"/>
                      <a:pt x="10" y="24"/>
                    </a:cubicBezTo>
                    <a:cubicBezTo>
                      <a:pt x="8" y="24"/>
                      <a:pt x="6" y="25"/>
                      <a:pt x="5" y="26"/>
                    </a:cubicBezTo>
                    <a:cubicBezTo>
                      <a:pt x="3" y="27"/>
                      <a:pt x="2" y="28"/>
                      <a:pt x="1" y="30"/>
                    </a:cubicBezTo>
                    <a:cubicBezTo>
                      <a:pt x="0" y="32"/>
                      <a:pt x="0" y="34"/>
                      <a:pt x="0" y="37"/>
                    </a:cubicBezTo>
                    <a:cubicBezTo>
                      <a:pt x="0" y="39"/>
                      <a:pt x="0" y="41"/>
                      <a:pt x="1" y="43"/>
                    </a:cubicBezTo>
                    <a:cubicBezTo>
                      <a:pt x="2" y="44"/>
                      <a:pt x="3" y="46"/>
                      <a:pt x="4" y="47"/>
                    </a:cubicBezTo>
                    <a:cubicBezTo>
                      <a:pt x="6" y="48"/>
                      <a:pt x="8" y="49"/>
                      <a:pt x="9" y="49"/>
                    </a:cubicBezTo>
                    <a:cubicBezTo>
                      <a:pt x="11" y="50"/>
                      <a:pt x="13" y="50"/>
                      <a:pt x="15" y="50"/>
                    </a:cubicBezTo>
                    <a:cubicBezTo>
                      <a:pt x="19" y="50"/>
                      <a:pt x="22" y="49"/>
                      <a:pt x="25" y="48"/>
                    </a:cubicBezTo>
                    <a:cubicBezTo>
                      <a:pt x="28" y="47"/>
                      <a:pt x="30" y="45"/>
                      <a:pt x="32" y="43"/>
                    </a:cubicBezTo>
                    <a:cubicBezTo>
                      <a:pt x="33" y="42"/>
                      <a:pt x="33" y="42"/>
                      <a:pt x="33" y="42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5"/>
                      <a:pt x="33" y="47"/>
                      <a:pt x="34" y="48"/>
                    </a:cubicBezTo>
                    <a:cubicBezTo>
                      <a:pt x="35" y="49"/>
                      <a:pt x="37" y="50"/>
                      <a:pt x="39" y="50"/>
                    </a:cubicBezTo>
                    <a:cubicBezTo>
                      <a:pt x="41" y="50"/>
                      <a:pt x="43" y="49"/>
                      <a:pt x="44" y="4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4" y="43"/>
                      <a:pt x="43" y="43"/>
                      <a:pt x="42" y="43"/>
                    </a:cubicBezTo>
                    <a:cubicBezTo>
                      <a:pt x="41" y="43"/>
                      <a:pt x="40" y="43"/>
                      <a:pt x="40" y="42"/>
                    </a:cubicBezTo>
                    <a:moveTo>
                      <a:pt x="32" y="32"/>
                    </a:moveTo>
                    <a:cubicBezTo>
                      <a:pt x="32" y="34"/>
                      <a:pt x="32" y="35"/>
                      <a:pt x="31" y="36"/>
                    </a:cubicBezTo>
                    <a:cubicBezTo>
                      <a:pt x="31" y="37"/>
                      <a:pt x="30" y="39"/>
                      <a:pt x="29" y="40"/>
                    </a:cubicBezTo>
                    <a:cubicBezTo>
                      <a:pt x="27" y="41"/>
                      <a:pt x="26" y="42"/>
                      <a:pt x="24" y="42"/>
                    </a:cubicBezTo>
                    <a:cubicBezTo>
                      <a:pt x="22" y="43"/>
                      <a:pt x="20" y="43"/>
                      <a:pt x="17" y="43"/>
                    </a:cubicBezTo>
                    <a:cubicBezTo>
                      <a:pt x="16" y="43"/>
                      <a:pt x="15" y="43"/>
                      <a:pt x="14" y="43"/>
                    </a:cubicBezTo>
                    <a:cubicBezTo>
                      <a:pt x="13" y="43"/>
                      <a:pt x="12" y="42"/>
                      <a:pt x="11" y="42"/>
                    </a:cubicBezTo>
                    <a:cubicBezTo>
                      <a:pt x="10" y="41"/>
                      <a:pt x="9" y="41"/>
                      <a:pt x="9" y="40"/>
                    </a:cubicBezTo>
                    <a:cubicBezTo>
                      <a:pt x="8" y="39"/>
                      <a:pt x="8" y="38"/>
                      <a:pt x="8" y="36"/>
                    </a:cubicBezTo>
                    <a:cubicBezTo>
                      <a:pt x="8" y="34"/>
                      <a:pt x="8" y="33"/>
                      <a:pt x="9" y="31"/>
                    </a:cubicBezTo>
                    <a:cubicBezTo>
                      <a:pt x="10" y="30"/>
                      <a:pt x="11" y="29"/>
                      <a:pt x="13" y="29"/>
                    </a:cubicBezTo>
                    <a:cubicBezTo>
                      <a:pt x="14" y="28"/>
                      <a:pt x="16" y="28"/>
                      <a:pt x="18" y="27"/>
                    </a:cubicBezTo>
                    <a:cubicBezTo>
                      <a:pt x="19" y="27"/>
                      <a:pt x="21" y="27"/>
                      <a:pt x="23" y="27"/>
                    </a:cubicBezTo>
                    <a:cubicBezTo>
                      <a:pt x="25" y="26"/>
                      <a:pt x="26" y="26"/>
                      <a:pt x="28" y="26"/>
                    </a:cubicBezTo>
                    <a:cubicBezTo>
                      <a:pt x="30" y="25"/>
                      <a:pt x="31" y="25"/>
                      <a:pt x="32" y="24"/>
                    </a:cubicBezTo>
                    <a:cubicBezTo>
                      <a:pt x="32" y="24"/>
                      <a:pt x="32" y="24"/>
                      <a:pt x="32" y="24"/>
                    </a:cubicBezTo>
                    <a:lnTo>
                      <a:pt x="32" y="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" name="Freeform 21"/>
              <p:cNvSpPr>
                <a:spLocks noEditPoints="1"/>
              </p:cNvSpPr>
              <p:nvPr userDrawn="1"/>
            </p:nvSpPr>
            <p:spPr bwMode="auto">
              <a:xfrm>
                <a:off x="2271713" y="1595438"/>
                <a:ext cx="146050" cy="166688"/>
              </a:xfrm>
              <a:custGeom>
                <a:avLst/>
                <a:gdLst>
                  <a:gd name="T0" fmla="*/ 39 w 44"/>
                  <a:gd name="T1" fmla="*/ 10 h 50"/>
                  <a:gd name="T2" fmla="*/ 32 w 44"/>
                  <a:gd name="T3" fmla="*/ 3 h 50"/>
                  <a:gd name="T4" fmla="*/ 22 w 44"/>
                  <a:gd name="T5" fmla="*/ 0 h 50"/>
                  <a:gd name="T6" fmla="*/ 13 w 44"/>
                  <a:gd name="T7" fmla="*/ 2 h 50"/>
                  <a:gd name="T8" fmla="*/ 6 w 44"/>
                  <a:gd name="T9" fmla="*/ 7 h 50"/>
                  <a:gd name="T10" fmla="*/ 1 w 44"/>
                  <a:gd name="T11" fmla="*/ 15 h 50"/>
                  <a:gd name="T12" fmla="*/ 0 w 44"/>
                  <a:gd name="T13" fmla="*/ 25 h 50"/>
                  <a:gd name="T14" fmla="*/ 1 w 44"/>
                  <a:gd name="T15" fmla="*/ 35 h 50"/>
                  <a:gd name="T16" fmla="*/ 6 w 44"/>
                  <a:gd name="T17" fmla="*/ 43 h 50"/>
                  <a:gd name="T18" fmla="*/ 13 w 44"/>
                  <a:gd name="T19" fmla="*/ 48 h 50"/>
                  <a:gd name="T20" fmla="*/ 22 w 44"/>
                  <a:gd name="T21" fmla="*/ 50 h 50"/>
                  <a:gd name="T22" fmla="*/ 36 w 44"/>
                  <a:gd name="T23" fmla="*/ 46 h 50"/>
                  <a:gd name="T24" fmla="*/ 43 w 44"/>
                  <a:gd name="T25" fmla="*/ 34 h 50"/>
                  <a:gd name="T26" fmla="*/ 35 w 44"/>
                  <a:gd name="T27" fmla="*/ 34 h 50"/>
                  <a:gd name="T28" fmla="*/ 31 w 44"/>
                  <a:gd name="T29" fmla="*/ 41 h 50"/>
                  <a:gd name="T30" fmla="*/ 23 w 44"/>
                  <a:gd name="T31" fmla="*/ 43 h 50"/>
                  <a:gd name="T32" fmla="*/ 16 w 44"/>
                  <a:gd name="T33" fmla="*/ 42 h 50"/>
                  <a:gd name="T34" fmla="*/ 11 w 44"/>
                  <a:gd name="T35" fmla="*/ 39 h 50"/>
                  <a:gd name="T36" fmla="*/ 8 w 44"/>
                  <a:gd name="T37" fmla="*/ 34 h 50"/>
                  <a:gd name="T38" fmla="*/ 8 w 44"/>
                  <a:gd name="T39" fmla="*/ 27 h 50"/>
                  <a:gd name="T40" fmla="*/ 8 w 44"/>
                  <a:gd name="T41" fmla="*/ 27 h 50"/>
                  <a:gd name="T42" fmla="*/ 43 w 44"/>
                  <a:gd name="T43" fmla="*/ 27 h 50"/>
                  <a:gd name="T44" fmla="*/ 43 w 44"/>
                  <a:gd name="T45" fmla="*/ 18 h 50"/>
                  <a:gd name="T46" fmla="*/ 39 w 44"/>
                  <a:gd name="T47" fmla="*/ 10 h 50"/>
                  <a:gd name="T48" fmla="*/ 8 w 44"/>
                  <a:gd name="T49" fmla="*/ 21 h 50"/>
                  <a:gd name="T50" fmla="*/ 8 w 44"/>
                  <a:gd name="T51" fmla="*/ 20 h 50"/>
                  <a:gd name="T52" fmla="*/ 9 w 44"/>
                  <a:gd name="T53" fmla="*/ 15 h 50"/>
                  <a:gd name="T54" fmla="*/ 12 w 44"/>
                  <a:gd name="T55" fmla="*/ 11 h 50"/>
                  <a:gd name="T56" fmla="*/ 16 w 44"/>
                  <a:gd name="T57" fmla="*/ 8 h 50"/>
                  <a:gd name="T58" fmla="*/ 22 w 44"/>
                  <a:gd name="T59" fmla="*/ 7 h 50"/>
                  <a:gd name="T60" fmla="*/ 27 w 44"/>
                  <a:gd name="T61" fmla="*/ 8 h 50"/>
                  <a:gd name="T62" fmla="*/ 32 w 44"/>
                  <a:gd name="T63" fmla="*/ 11 h 50"/>
                  <a:gd name="T64" fmla="*/ 34 w 44"/>
                  <a:gd name="T65" fmla="*/ 15 h 50"/>
                  <a:gd name="T66" fmla="*/ 36 w 44"/>
                  <a:gd name="T67" fmla="*/ 20 h 50"/>
                  <a:gd name="T68" fmla="*/ 36 w 44"/>
                  <a:gd name="T69" fmla="*/ 21 h 50"/>
                  <a:gd name="T70" fmla="*/ 8 w 44"/>
                  <a:gd name="T71" fmla="*/ 2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4" h="50">
                    <a:moveTo>
                      <a:pt x="39" y="10"/>
                    </a:moveTo>
                    <a:cubicBezTo>
                      <a:pt x="37" y="7"/>
                      <a:pt x="35" y="5"/>
                      <a:pt x="32" y="3"/>
                    </a:cubicBezTo>
                    <a:cubicBezTo>
                      <a:pt x="30" y="1"/>
                      <a:pt x="26" y="0"/>
                      <a:pt x="22" y="0"/>
                    </a:cubicBezTo>
                    <a:cubicBezTo>
                      <a:pt x="19" y="0"/>
                      <a:pt x="16" y="1"/>
                      <a:pt x="13" y="2"/>
                    </a:cubicBezTo>
                    <a:cubicBezTo>
                      <a:pt x="10" y="3"/>
                      <a:pt x="8" y="5"/>
                      <a:pt x="6" y="7"/>
                    </a:cubicBezTo>
                    <a:cubicBezTo>
                      <a:pt x="4" y="9"/>
                      <a:pt x="2" y="12"/>
                      <a:pt x="1" y="15"/>
                    </a:cubicBezTo>
                    <a:cubicBezTo>
                      <a:pt x="0" y="18"/>
                      <a:pt x="0" y="21"/>
                      <a:pt x="0" y="25"/>
                    </a:cubicBezTo>
                    <a:cubicBezTo>
                      <a:pt x="0" y="29"/>
                      <a:pt x="0" y="32"/>
                      <a:pt x="1" y="35"/>
                    </a:cubicBezTo>
                    <a:cubicBezTo>
                      <a:pt x="2" y="38"/>
                      <a:pt x="4" y="41"/>
                      <a:pt x="6" y="43"/>
                    </a:cubicBezTo>
                    <a:cubicBezTo>
                      <a:pt x="7" y="45"/>
                      <a:pt x="10" y="47"/>
                      <a:pt x="13" y="48"/>
                    </a:cubicBezTo>
                    <a:cubicBezTo>
                      <a:pt x="15" y="49"/>
                      <a:pt x="19" y="50"/>
                      <a:pt x="22" y="50"/>
                    </a:cubicBezTo>
                    <a:cubicBezTo>
                      <a:pt x="28" y="50"/>
                      <a:pt x="32" y="48"/>
                      <a:pt x="36" y="46"/>
                    </a:cubicBezTo>
                    <a:cubicBezTo>
                      <a:pt x="39" y="43"/>
                      <a:pt x="42" y="39"/>
                      <a:pt x="43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5" y="37"/>
                      <a:pt x="33" y="40"/>
                      <a:pt x="31" y="41"/>
                    </a:cubicBezTo>
                    <a:cubicBezTo>
                      <a:pt x="29" y="43"/>
                      <a:pt x="26" y="43"/>
                      <a:pt x="23" y="43"/>
                    </a:cubicBezTo>
                    <a:cubicBezTo>
                      <a:pt x="20" y="43"/>
                      <a:pt x="18" y="43"/>
                      <a:pt x="16" y="42"/>
                    </a:cubicBezTo>
                    <a:cubicBezTo>
                      <a:pt x="14" y="41"/>
                      <a:pt x="12" y="40"/>
                      <a:pt x="11" y="39"/>
                    </a:cubicBezTo>
                    <a:cubicBezTo>
                      <a:pt x="10" y="37"/>
                      <a:pt x="9" y="35"/>
                      <a:pt x="8" y="34"/>
                    </a:cubicBezTo>
                    <a:cubicBezTo>
                      <a:pt x="8" y="32"/>
                      <a:pt x="7" y="30"/>
                      <a:pt x="8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43" y="27"/>
                      <a:pt x="43" y="27"/>
                      <a:pt x="43" y="27"/>
                    </a:cubicBezTo>
                    <a:cubicBezTo>
                      <a:pt x="44" y="24"/>
                      <a:pt x="43" y="21"/>
                      <a:pt x="43" y="18"/>
                    </a:cubicBezTo>
                    <a:cubicBezTo>
                      <a:pt x="42" y="15"/>
                      <a:pt x="41" y="12"/>
                      <a:pt x="39" y="10"/>
                    </a:cubicBezTo>
                    <a:moveTo>
                      <a:pt x="8" y="21"/>
                    </a:moveTo>
                    <a:cubicBezTo>
                      <a:pt x="8" y="20"/>
                      <a:pt x="8" y="20"/>
                      <a:pt x="8" y="20"/>
                    </a:cubicBezTo>
                    <a:cubicBezTo>
                      <a:pt x="8" y="19"/>
                      <a:pt x="8" y="17"/>
                      <a:pt x="9" y="15"/>
                    </a:cubicBezTo>
                    <a:cubicBezTo>
                      <a:pt x="10" y="14"/>
                      <a:pt x="11" y="12"/>
                      <a:pt x="12" y="11"/>
                    </a:cubicBezTo>
                    <a:cubicBezTo>
                      <a:pt x="13" y="10"/>
                      <a:pt x="14" y="9"/>
                      <a:pt x="16" y="8"/>
                    </a:cubicBezTo>
                    <a:cubicBezTo>
                      <a:pt x="18" y="7"/>
                      <a:pt x="20" y="7"/>
                      <a:pt x="22" y="7"/>
                    </a:cubicBezTo>
                    <a:cubicBezTo>
                      <a:pt x="24" y="7"/>
                      <a:pt x="26" y="7"/>
                      <a:pt x="27" y="8"/>
                    </a:cubicBezTo>
                    <a:cubicBezTo>
                      <a:pt x="29" y="9"/>
                      <a:pt x="30" y="10"/>
                      <a:pt x="32" y="11"/>
                    </a:cubicBezTo>
                    <a:cubicBezTo>
                      <a:pt x="33" y="12"/>
                      <a:pt x="34" y="13"/>
                      <a:pt x="34" y="15"/>
                    </a:cubicBezTo>
                    <a:cubicBezTo>
                      <a:pt x="35" y="17"/>
                      <a:pt x="36" y="19"/>
                      <a:pt x="36" y="20"/>
                    </a:cubicBezTo>
                    <a:cubicBezTo>
                      <a:pt x="36" y="21"/>
                      <a:pt x="36" y="21"/>
                      <a:pt x="36" y="21"/>
                    </a:cubicBezTo>
                    <a:lnTo>
                      <a:pt x="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Freeform 22"/>
              <p:cNvSpPr>
                <a:spLocks/>
              </p:cNvSpPr>
              <p:nvPr userDrawn="1"/>
            </p:nvSpPr>
            <p:spPr bwMode="auto">
              <a:xfrm>
                <a:off x="2527300" y="1595438"/>
                <a:ext cx="142875" cy="166688"/>
              </a:xfrm>
              <a:custGeom>
                <a:avLst/>
                <a:gdLst>
                  <a:gd name="T0" fmla="*/ 22 w 43"/>
                  <a:gd name="T1" fmla="*/ 43 h 50"/>
                  <a:gd name="T2" fmla="*/ 15 w 43"/>
                  <a:gd name="T3" fmla="*/ 42 h 50"/>
                  <a:gd name="T4" fmla="*/ 11 w 43"/>
                  <a:gd name="T5" fmla="*/ 38 h 50"/>
                  <a:gd name="T6" fmla="*/ 8 w 43"/>
                  <a:gd name="T7" fmla="*/ 32 h 50"/>
                  <a:gd name="T8" fmla="*/ 8 w 43"/>
                  <a:gd name="T9" fmla="*/ 26 h 50"/>
                  <a:gd name="T10" fmla="*/ 8 w 43"/>
                  <a:gd name="T11" fmla="*/ 19 h 50"/>
                  <a:gd name="T12" fmla="*/ 11 w 43"/>
                  <a:gd name="T13" fmla="*/ 13 h 50"/>
                  <a:gd name="T14" fmla="*/ 16 w 43"/>
                  <a:gd name="T15" fmla="*/ 8 h 50"/>
                  <a:gd name="T16" fmla="*/ 23 w 43"/>
                  <a:gd name="T17" fmla="*/ 7 h 50"/>
                  <a:gd name="T18" fmla="*/ 31 w 43"/>
                  <a:gd name="T19" fmla="*/ 9 h 50"/>
                  <a:gd name="T20" fmla="*/ 35 w 43"/>
                  <a:gd name="T21" fmla="*/ 16 h 50"/>
                  <a:gd name="T22" fmla="*/ 43 w 43"/>
                  <a:gd name="T23" fmla="*/ 16 h 50"/>
                  <a:gd name="T24" fmla="*/ 40 w 43"/>
                  <a:gd name="T25" fmla="*/ 9 h 50"/>
                  <a:gd name="T26" fmla="*/ 36 w 43"/>
                  <a:gd name="T27" fmla="*/ 4 h 50"/>
                  <a:gd name="T28" fmla="*/ 30 w 43"/>
                  <a:gd name="T29" fmla="*/ 1 h 50"/>
                  <a:gd name="T30" fmla="*/ 22 w 43"/>
                  <a:gd name="T31" fmla="*/ 0 h 50"/>
                  <a:gd name="T32" fmla="*/ 12 w 43"/>
                  <a:gd name="T33" fmla="*/ 2 h 50"/>
                  <a:gd name="T34" fmla="*/ 5 w 43"/>
                  <a:gd name="T35" fmla="*/ 8 h 50"/>
                  <a:gd name="T36" fmla="*/ 1 w 43"/>
                  <a:gd name="T37" fmla="*/ 16 h 50"/>
                  <a:gd name="T38" fmla="*/ 0 w 43"/>
                  <a:gd name="T39" fmla="*/ 26 h 50"/>
                  <a:gd name="T40" fmla="*/ 1 w 43"/>
                  <a:gd name="T41" fmla="*/ 35 h 50"/>
                  <a:gd name="T42" fmla="*/ 5 w 43"/>
                  <a:gd name="T43" fmla="*/ 43 h 50"/>
                  <a:gd name="T44" fmla="*/ 12 w 43"/>
                  <a:gd name="T45" fmla="*/ 48 h 50"/>
                  <a:gd name="T46" fmla="*/ 22 w 43"/>
                  <a:gd name="T47" fmla="*/ 50 h 50"/>
                  <a:gd name="T48" fmla="*/ 36 w 43"/>
                  <a:gd name="T49" fmla="*/ 45 h 50"/>
                  <a:gd name="T50" fmla="*/ 43 w 43"/>
                  <a:gd name="T51" fmla="*/ 32 h 50"/>
                  <a:gd name="T52" fmla="*/ 35 w 43"/>
                  <a:gd name="T53" fmla="*/ 32 h 50"/>
                  <a:gd name="T54" fmla="*/ 31 w 43"/>
                  <a:gd name="T55" fmla="*/ 40 h 50"/>
                  <a:gd name="T56" fmla="*/ 22 w 43"/>
                  <a:gd name="T57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3" h="50">
                    <a:moveTo>
                      <a:pt x="22" y="43"/>
                    </a:moveTo>
                    <a:cubicBezTo>
                      <a:pt x="19" y="43"/>
                      <a:pt x="17" y="43"/>
                      <a:pt x="15" y="42"/>
                    </a:cubicBezTo>
                    <a:cubicBezTo>
                      <a:pt x="14" y="41"/>
                      <a:pt x="12" y="40"/>
                      <a:pt x="11" y="38"/>
                    </a:cubicBezTo>
                    <a:cubicBezTo>
                      <a:pt x="10" y="36"/>
                      <a:pt x="9" y="34"/>
                      <a:pt x="8" y="32"/>
                    </a:cubicBezTo>
                    <a:cubicBezTo>
                      <a:pt x="8" y="30"/>
                      <a:pt x="8" y="28"/>
                      <a:pt x="8" y="26"/>
                    </a:cubicBezTo>
                    <a:cubicBezTo>
                      <a:pt x="8" y="23"/>
                      <a:pt x="8" y="21"/>
                      <a:pt x="8" y="19"/>
                    </a:cubicBezTo>
                    <a:cubicBezTo>
                      <a:pt x="9" y="16"/>
                      <a:pt x="10" y="14"/>
                      <a:pt x="11" y="13"/>
                    </a:cubicBezTo>
                    <a:cubicBezTo>
                      <a:pt x="12" y="11"/>
                      <a:pt x="14" y="9"/>
                      <a:pt x="16" y="8"/>
                    </a:cubicBezTo>
                    <a:cubicBezTo>
                      <a:pt x="18" y="7"/>
                      <a:pt x="20" y="7"/>
                      <a:pt x="23" y="7"/>
                    </a:cubicBezTo>
                    <a:cubicBezTo>
                      <a:pt x="26" y="7"/>
                      <a:pt x="29" y="8"/>
                      <a:pt x="31" y="9"/>
                    </a:cubicBezTo>
                    <a:cubicBezTo>
                      <a:pt x="33" y="11"/>
                      <a:pt x="34" y="13"/>
                      <a:pt x="35" y="16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2" y="11"/>
                      <a:pt x="40" y="9"/>
                    </a:cubicBezTo>
                    <a:cubicBezTo>
                      <a:pt x="39" y="7"/>
                      <a:pt x="38" y="6"/>
                      <a:pt x="36" y="4"/>
                    </a:cubicBezTo>
                    <a:cubicBezTo>
                      <a:pt x="34" y="3"/>
                      <a:pt x="32" y="2"/>
                      <a:pt x="30" y="1"/>
                    </a:cubicBezTo>
                    <a:cubicBezTo>
                      <a:pt x="27" y="1"/>
                      <a:pt x="25" y="0"/>
                      <a:pt x="22" y="0"/>
                    </a:cubicBezTo>
                    <a:cubicBezTo>
                      <a:pt x="18" y="0"/>
                      <a:pt x="15" y="1"/>
                      <a:pt x="12" y="2"/>
                    </a:cubicBezTo>
                    <a:cubicBezTo>
                      <a:pt x="10" y="4"/>
                      <a:pt x="7" y="5"/>
                      <a:pt x="5" y="8"/>
                    </a:cubicBezTo>
                    <a:cubicBezTo>
                      <a:pt x="4" y="10"/>
                      <a:pt x="2" y="13"/>
                      <a:pt x="1" y="16"/>
                    </a:cubicBezTo>
                    <a:cubicBezTo>
                      <a:pt x="0" y="19"/>
                      <a:pt x="0" y="22"/>
                      <a:pt x="0" y="26"/>
                    </a:cubicBezTo>
                    <a:cubicBezTo>
                      <a:pt x="0" y="29"/>
                      <a:pt x="0" y="33"/>
                      <a:pt x="1" y="35"/>
                    </a:cubicBezTo>
                    <a:cubicBezTo>
                      <a:pt x="2" y="38"/>
                      <a:pt x="4" y="41"/>
                      <a:pt x="5" y="43"/>
                    </a:cubicBezTo>
                    <a:cubicBezTo>
                      <a:pt x="7" y="45"/>
                      <a:pt x="10" y="47"/>
                      <a:pt x="12" y="48"/>
                    </a:cubicBezTo>
                    <a:cubicBezTo>
                      <a:pt x="15" y="49"/>
                      <a:pt x="18" y="50"/>
                      <a:pt x="22" y="50"/>
                    </a:cubicBezTo>
                    <a:cubicBezTo>
                      <a:pt x="28" y="50"/>
                      <a:pt x="33" y="48"/>
                      <a:pt x="36" y="45"/>
                    </a:cubicBezTo>
                    <a:cubicBezTo>
                      <a:pt x="40" y="42"/>
                      <a:pt x="42" y="38"/>
                      <a:pt x="43" y="32"/>
                    </a:cubicBezTo>
                    <a:cubicBezTo>
                      <a:pt x="35" y="32"/>
                      <a:pt x="35" y="32"/>
                      <a:pt x="35" y="32"/>
                    </a:cubicBezTo>
                    <a:cubicBezTo>
                      <a:pt x="35" y="35"/>
                      <a:pt x="33" y="38"/>
                      <a:pt x="31" y="40"/>
                    </a:cubicBezTo>
                    <a:cubicBezTo>
                      <a:pt x="29" y="42"/>
                      <a:pt x="26" y="43"/>
                      <a:pt x="22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23"/>
              <p:cNvSpPr>
                <a:spLocks/>
              </p:cNvSpPr>
              <p:nvPr userDrawn="1"/>
            </p:nvSpPr>
            <p:spPr bwMode="auto">
              <a:xfrm>
                <a:off x="2703513" y="1538288"/>
                <a:ext cx="130175" cy="220663"/>
              </a:xfrm>
              <a:custGeom>
                <a:avLst/>
                <a:gdLst>
                  <a:gd name="T0" fmla="*/ 35 w 39"/>
                  <a:gd name="T1" fmla="*/ 22 h 66"/>
                  <a:gd name="T2" fmla="*/ 30 w 39"/>
                  <a:gd name="T3" fmla="*/ 19 h 66"/>
                  <a:gd name="T4" fmla="*/ 23 w 39"/>
                  <a:gd name="T5" fmla="*/ 17 h 66"/>
                  <a:gd name="T6" fmla="*/ 18 w 39"/>
                  <a:gd name="T7" fmla="*/ 18 h 66"/>
                  <a:gd name="T8" fmla="*/ 14 w 39"/>
                  <a:gd name="T9" fmla="*/ 19 h 66"/>
                  <a:gd name="T10" fmla="*/ 10 w 39"/>
                  <a:gd name="T11" fmla="*/ 22 h 66"/>
                  <a:gd name="T12" fmla="*/ 7 w 39"/>
                  <a:gd name="T13" fmla="*/ 25 h 66"/>
                  <a:gd name="T14" fmla="*/ 7 w 39"/>
                  <a:gd name="T15" fmla="*/ 25 h 66"/>
                  <a:gd name="T16" fmla="*/ 7 w 39"/>
                  <a:gd name="T17" fmla="*/ 25 h 66"/>
                  <a:gd name="T18" fmla="*/ 7 w 39"/>
                  <a:gd name="T19" fmla="*/ 0 h 66"/>
                  <a:gd name="T20" fmla="*/ 0 w 39"/>
                  <a:gd name="T21" fmla="*/ 0 h 66"/>
                  <a:gd name="T22" fmla="*/ 0 w 39"/>
                  <a:gd name="T23" fmla="*/ 66 h 66"/>
                  <a:gd name="T24" fmla="*/ 7 w 39"/>
                  <a:gd name="T25" fmla="*/ 66 h 66"/>
                  <a:gd name="T26" fmla="*/ 7 w 39"/>
                  <a:gd name="T27" fmla="*/ 39 h 66"/>
                  <a:gd name="T28" fmla="*/ 8 w 39"/>
                  <a:gd name="T29" fmla="*/ 33 h 66"/>
                  <a:gd name="T30" fmla="*/ 11 w 39"/>
                  <a:gd name="T31" fmla="*/ 28 h 66"/>
                  <a:gd name="T32" fmla="*/ 15 w 39"/>
                  <a:gd name="T33" fmla="*/ 25 h 66"/>
                  <a:gd name="T34" fmla="*/ 21 w 39"/>
                  <a:gd name="T35" fmla="*/ 24 h 66"/>
                  <a:gd name="T36" fmla="*/ 29 w 39"/>
                  <a:gd name="T37" fmla="*/ 26 h 66"/>
                  <a:gd name="T38" fmla="*/ 31 w 39"/>
                  <a:gd name="T39" fmla="*/ 34 h 66"/>
                  <a:gd name="T40" fmla="*/ 31 w 39"/>
                  <a:gd name="T41" fmla="*/ 66 h 66"/>
                  <a:gd name="T42" fmla="*/ 39 w 39"/>
                  <a:gd name="T43" fmla="*/ 66 h 66"/>
                  <a:gd name="T44" fmla="*/ 39 w 39"/>
                  <a:gd name="T45" fmla="*/ 35 h 66"/>
                  <a:gd name="T46" fmla="*/ 38 w 39"/>
                  <a:gd name="T47" fmla="*/ 28 h 66"/>
                  <a:gd name="T48" fmla="*/ 35 w 39"/>
                  <a:gd name="T49" fmla="*/ 2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9" h="66">
                    <a:moveTo>
                      <a:pt x="35" y="22"/>
                    </a:moveTo>
                    <a:cubicBezTo>
                      <a:pt x="34" y="21"/>
                      <a:pt x="32" y="19"/>
                      <a:pt x="30" y="19"/>
                    </a:cubicBezTo>
                    <a:cubicBezTo>
                      <a:pt x="28" y="18"/>
                      <a:pt x="26" y="17"/>
                      <a:pt x="23" y="17"/>
                    </a:cubicBezTo>
                    <a:cubicBezTo>
                      <a:pt x="21" y="17"/>
                      <a:pt x="20" y="17"/>
                      <a:pt x="18" y="18"/>
                    </a:cubicBezTo>
                    <a:cubicBezTo>
                      <a:pt x="17" y="18"/>
                      <a:pt x="15" y="19"/>
                      <a:pt x="14" y="19"/>
                    </a:cubicBezTo>
                    <a:cubicBezTo>
                      <a:pt x="13" y="20"/>
                      <a:pt x="11" y="21"/>
                      <a:pt x="10" y="22"/>
                    </a:cubicBezTo>
                    <a:cubicBezTo>
                      <a:pt x="9" y="23"/>
                      <a:pt x="8" y="24"/>
                      <a:pt x="7" y="25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7" y="37"/>
                      <a:pt x="7" y="35"/>
                      <a:pt x="8" y="33"/>
                    </a:cubicBezTo>
                    <a:cubicBezTo>
                      <a:pt x="8" y="31"/>
                      <a:pt x="9" y="29"/>
                      <a:pt x="11" y="28"/>
                    </a:cubicBezTo>
                    <a:cubicBezTo>
                      <a:pt x="12" y="27"/>
                      <a:pt x="13" y="26"/>
                      <a:pt x="15" y="25"/>
                    </a:cubicBezTo>
                    <a:cubicBezTo>
                      <a:pt x="17" y="24"/>
                      <a:pt x="19" y="24"/>
                      <a:pt x="21" y="24"/>
                    </a:cubicBezTo>
                    <a:cubicBezTo>
                      <a:pt x="25" y="24"/>
                      <a:pt x="27" y="25"/>
                      <a:pt x="29" y="26"/>
                    </a:cubicBezTo>
                    <a:cubicBezTo>
                      <a:pt x="31" y="28"/>
                      <a:pt x="31" y="31"/>
                      <a:pt x="31" y="34"/>
                    </a:cubicBezTo>
                    <a:cubicBezTo>
                      <a:pt x="31" y="66"/>
                      <a:pt x="31" y="66"/>
                      <a:pt x="31" y="66"/>
                    </a:cubicBezTo>
                    <a:cubicBezTo>
                      <a:pt x="39" y="66"/>
                      <a:pt x="39" y="66"/>
                      <a:pt x="39" y="66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39" y="32"/>
                      <a:pt x="39" y="30"/>
                      <a:pt x="38" y="28"/>
                    </a:cubicBezTo>
                    <a:cubicBezTo>
                      <a:pt x="38" y="25"/>
                      <a:pt x="37" y="24"/>
                      <a:pt x="35" y="2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24"/>
              <p:cNvSpPr>
                <a:spLocks noEditPoints="1"/>
              </p:cNvSpPr>
              <p:nvPr userDrawn="1"/>
            </p:nvSpPr>
            <p:spPr bwMode="auto">
              <a:xfrm>
                <a:off x="2867025" y="1595438"/>
                <a:ext cx="146050" cy="166688"/>
              </a:xfrm>
              <a:custGeom>
                <a:avLst/>
                <a:gdLst>
                  <a:gd name="T0" fmla="*/ 39 w 44"/>
                  <a:gd name="T1" fmla="*/ 10 h 50"/>
                  <a:gd name="T2" fmla="*/ 33 w 44"/>
                  <a:gd name="T3" fmla="*/ 3 h 50"/>
                  <a:gd name="T4" fmla="*/ 22 w 44"/>
                  <a:gd name="T5" fmla="*/ 0 h 50"/>
                  <a:gd name="T6" fmla="*/ 13 w 44"/>
                  <a:gd name="T7" fmla="*/ 2 h 50"/>
                  <a:gd name="T8" fmla="*/ 6 w 44"/>
                  <a:gd name="T9" fmla="*/ 7 h 50"/>
                  <a:gd name="T10" fmla="*/ 1 w 44"/>
                  <a:gd name="T11" fmla="*/ 15 h 50"/>
                  <a:gd name="T12" fmla="*/ 0 w 44"/>
                  <a:gd name="T13" fmla="*/ 25 h 50"/>
                  <a:gd name="T14" fmla="*/ 1 w 44"/>
                  <a:gd name="T15" fmla="*/ 35 h 50"/>
                  <a:gd name="T16" fmla="*/ 6 w 44"/>
                  <a:gd name="T17" fmla="*/ 43 h 50"/>
                  <a:gd name="T18" fmla="*/ 13 w 44"/>
                  <a:gd name="T19" fmla="*/ 48 h 50"/>
                  <a:gd name="T20" fmla="*/ 23 w 44"/>
                  <a:gd name="T21" fmla="*/ 50 h 50"/>
                  <a:gd name="T22" fmla="*/ 36 w 44"/>
                  <a:gd name="T23" fmla="*/ 46 h 50"/>
                  <a:gd name="T24" fmla="*/ 43 w 44"/>
                  <a:gd name="T25" fmla="*/ 34 h 50"/>
                  <a:gd name="T26" fmla="*/ 35 w 44"/>
                  <a:gd name="T27" fmla="*/ 34 h 50"/>
                  <a:gd name="T28" fmla="*/ 31 w 44"/>
                  <a:gd name="T29" fmla="*/ 41 h 50"/>
                  <a:gd name="T30" fmla="*/ 23 w 44"/>
                  <a:gd name="T31" fmla="*/ 43 h 50"/>
                  <a:gd name="T32" fmla="*/ 16 w 44"/>
                  <a:gd name="T33" fmla="*/ 42 h 50"/>
                  <a:gd name="T34" fmla="*/ 11 w 44"/>
                  <a:gd name="T35" fmla="*/ 39 h 50"/>
                  <a:gd name="T36" fmla="*/ 8 w 44"/>
                  <a:gd name="T37" fmla="*/ 34 h 50"/>
                  <a:gd name="T38" fmla="*/ 8 w 44"/>
                  <a:gd name="T39" fmla="*/ 27 h 50"/>
                  <a:gd name="T40" fmla="*/ 8 w 44"/>
                  <a:gd name="T41" fmla="*/ 27 h 50"/>
                  <a:gd name="T42" fmla="*/ 44 w 44"/>
                  <a:gd name="T43" fmla="*/ 27 h 50"/>
                  <a:gd name="T44" fmla="*/ 43 w 44"/>
                  <a:gd name="T45" fmla="*/ 18 h 50"/>
                  <a:gd name="T46" fmla="*/ 39 w 44"/>
                  <a:gd name="T47" fmla="*/ 10 h 50"/>
                  <a:gd name="T48" fmla="*/ 8 w 44"/>
                  <a:gd name="T49" fmla="*/ 21 h 50"/>
                  <a:gd name="T50" fmla="*/ 8 w 44"/>
                  <a:gd name="T51" fmla="*/ 20 h 50"/>
                  <a:gd name="T52" fmla="*/ 9 w 44"/>
                  <a:gd name="T53" fmla="*/ 15 h 50"/>
                  <a:gd name="T54" fmla="*/ 12 w 44"/>
                  <a:gd name="T55" fmla="*/ 11 h 50"/>
                  <a:gd name="T56" fmla="*/ 16 w 44"/>
                  <a:gd name="T57" fmla="*/ 8 h 50"/>
                  <a:gd name="T58" fmla="*/ 22 w 44"/>
                  <a:gd name="T59" fmla="*/ 7 h 50"/>
                  <a:gd name="T60" fmla="*/ 27 w 44"/>
                  <a:gd name="T61" fmla="*/ 8 h 50"/>
                  <a:gd name="T62" fmla="*/ 31 w 44"/>
                  <a:gd name="T63" fmla="*/ 11 h 50"/>
                  <a:gd name="T64" fmla="*/ 34 w 44"/>
                  <a:gd name="T65" fmla="*/ 15 h 50"/>
                  <a:gd name="T66" fmla="*/ 36 w 44"/>
                  <a:gd name="T67" fmla="*/ 20 h 50"/>
                  <a:gd name="T68" fmla="*/ 36 w 44"/>
                  <a:gd name="T69" fmla="*/ 21 h 50"/>
                  <a:gd name="T70" fmla="*/ 8 w 44"/>
                  <a:gd name="T71" fmla="*/ 2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4" h="50">
                    <a:moveTo>
                      <a:pt x="39" y="10"/>
                    </a:moveTo>
                    <a:cubicBezTo>
                      <a:pt x="38" y="7"/>
                      <a:pt x="35" y="5"/>
                      <a:pt x="33" y="3"/>
                    </a:cubicBezTo>
                    <a:cubicBezTo>
                      <a:pt x="30" y="1"/>
                      <a:pt x="26" y="0"/>
                      <a:pt x="22" y="0"/>
                    </a:cubicBezTo>
                    <a:cubicBezTo>
                      <a:pt x="19" y="0"/>
                      <a:pt x="16" y="1"/>
                      <a:pt x="13" y="2"/>
                    </a:cubicBezTo>
                    <a:cubicBezTo>
                      <a:pt x="10" y="3"/>
                      <a:pt x="8" y="5"/>
                      <a:pt x="6" y="7"/>
                    </a:cubicBezTo>
                    <a:cubicBezTo>
                      <a:pt x="4" y="9"/>
                      <a:pt x="3" y="12"/>
                      <a:pt x="1" y="15"/>
                    </a:cubicBezTo>
                    <a:cubicBezTo>
                      <a:pt x="0" y="18"/>
                      <a:pt x="0" y="21"/>
                      <a:pt x="0" y="25"/>
                    </a:cubicBezTo>
                    <a:cubicBezTo>
                      <a:pt x="0" y="29"/>
                      <a:pt x="0" y="32"/>
                      <a:pt x="1" y="35"/>
                    </a:cubicBezTo>
                    <a:cubicBezTo>
                      <a:pt x="2" y="38"/>
                      <a:pt x="4" y="41"/>
                      <a:pt x="6" y="43"/>
                    </a:cubicBezTo>
                    <a:cubicBezTo>
                      <a:pt x="8" y="45"/>
                      <a:pt x="10" y="47"/>
                      <a:pt x="13" y="48"/>
                    </a:cubicBezTo>
                    <a:cubicBezTo>
                      <a:pt x="15" y="49"/>
                      <a:pt x="19" y="50"/>
                      <a:pt x="23" y="50"/>
                    </a:cubicBezTo>
                    <a:cubicBezTo>
                      <a:pt x="28" y="50"/>
                      <a:pt x="32" y="48"/>
                      <a:pt x="36" y="46"/>
                    </a:cubicBezTo>
                    <a:cubicBezTo>
                      <a:pt x="39" y="43"/>
                      <a:pt x="42" y="39"/>
                      <a:pt x="43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5" y="37"/>
                      <a:pt x="33" y="40"/>
                      <a:pt x="31" y="41"/>
                    </a:cubicBezTo>
                    <a:cubicBezTo>
                      <a:pt x="29" y="43"/>
                      <a:pt x="26" y="43"/>
                      <a:pt x="23" y="43"/>
                    </a:cubicBezTo>
                    <a:cubicBezTo>
                      <a:pt x="20" y="43"/>
                      <a:pt x="18" y="43"/>
                      <a:pt x="16" y="42"/>
                    </a:cubicBezTo>
                    <a:cubicBezTo>
                      <a:pt x="14" y="41"/>
                      <a:pt x="12" y="40"/>
                      <a:pt x="11" y="39"/>
                    </a:cubicBezTo>
                    <a:cubicBezTo>
                      <a:pt x="10" y="37"/>
                      <a:pt x="9" y="35"/>
                      <a:pt x="8" y="34"/>
                    </a:cubicBezTo>
                    <a:cubicBezTo>
                      <a:pt x="8" y="32"/>
                      <a:pt x="8" y="30"/>
                      <a:pt x="8" y="27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4" y="24"/>
                      <a:pt x="43" y="21"/>
                      <a:pt x="43" y="18"/>
                    </a:cubicBezTo>
                    <a:cubicBezTo>
                      <a:pt x="42" y="15"/>
                      <a:pt x="41" y="12"/>
                      <a:pt x="39" y="10"/>
                    </a:cubicBezTo>
                    <a:moveTo>
                      <a:pt x="8" y="21"/>
                    </a:moveTo>
                    <a:cubicBezTo>
                      <a:pt x="8" y="20"/>
                      <a:pt x="8" y="20"/>
                      <a:pt x="8" y="20"/>
                    </a:cubicBezTo>
                    <a:cubicBezTo>
                      <a:pt x="8" y="19"/>
                      <a:pt x="8" y="17"/>
                      <a:pt x="9" y="15"/>
                    </a:cubicBezTo>
                    <a:cubicBezTo>
                      <a:pt x="10" y="14"/>
                      <a:pt x="11" y="12"/>
                      <a:pt x="12" y="11"/>
                    </a:cubicBezTo>
                    <a:cubicBezTo>
                      <a:pt x="13" y="10"/>
                      <a:pt x="14" y="9"/>
                      <a:pt x="16" y="8"/>
                    </a:cubicBezTo>
                    <a:cubicBezTo>
                      <a:pt x="18" y="7"/>
                      <a:pt x="20" y="7"/>
                      <a:pt x="22" y="7"/>
                    </a:cubicBezTo>
                    <a:cubicBezTo>
                      <a:pt x="24" y="7"/>
                      <a:pt x="25" y="7"/>
                      <a:pt x="27" y="8"/>
                    </a:cubicBezTo>
                    <a:cubicBezTo>
                      <a:pt x="29" y="9"/>
                      <a:pt x="30" y="10"/>
                      <a:pt x="31" y="11"/>
                    </a:cubicBezTo>
                    <a:cubicBezTo>
                      <a:pt x="33" y="12"/>
                      <a:pt x="34" y="13"/>
                      <a:pt x="34" y="15"/>
                    </a:cubicBezTo>
                    <a:cubicBezTo>
                      <a:pt x="35" y="17"/>
                      <a:pt x="36" y="19"/>
                      <a:pt x="36" y="20"/>
                    </a:cubicBezTo>
                    <a:cubicBezTo>
                      <a:pt x="36" y="21"/>
                      <a:pt x="36" y="21"/>
                      <a:pt x="36" y="21"/>
                    </a:cubicBezTo>
                    <a:lnTo>
                      <a:pt x="8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" name="Freeform 25"/>
              <p:cNvSpPr>
                <a:spLocks/>
              </p:cNvSpPr>
              <p:nvPr userDrawn="1"/>
            </p:nvSpPr>
            <p:spPr bwMode="auto">
              <a:xfrm>
                <a:off x="3043238" y="1595438"/>
                <a:ext cx="223838" cy="163513"/>
              </a:xfrm>
              <a:custGeom>
                <a:avLst/>
                <a:gdLst>
                  <a:gd name="T0" fmla="*/ 62 w 67"/>
                  <a:gd name="T1" fmla="*/ 3 h 49"/>
                  <a:gd name="T2" fmla="*/ 58 w 67"/>
                  <a:gd name="T3" fmla="*/ 1 h 49"/>
                  <a:gd name="T4" fmla="*/ 51 w 67"/>
                  <a:gd name="T5" fmla="*/ 0 h 49"/>
                  <a:gd name="T6" fmla="*/ 42 w 67"/>
                  <a:gd name="T7" fmla="*/ 2 h 49"/>
                  <a:gd name="T8" fmla="*/ 36 w 67"/>
                  <a:gd name="T9" fmla="*/ 8 h 49"/>
                  <a:gd name="T10" fmla="*/ 36 w 67"/>
                  <a:gd name="T11" fmla="*/ 9 h 49"/>
                  <a:gd name="T12" fmla="*/ 36 w 67"/>
                  <a:gd name="T13" fmla="*/ 8 h 49"/>
                  <a:gd name="T14" fmla="*/ 31 w 67"/>
                  <a:gd name="T15" fmla="*/ 2 h 49"/>
                  <a:gd name="T16" fmla="*/ 23 w 67"/>
                  <a:gd name="T17" fmla="*/ 0 h 49"/>
                  <a:gd name="T18" fmla="*/ 7 w 67"/>
                  <a:gd name="T19" fmla="*/ 8 h 49"/>
                  <a:gd name="T20" fmla="*/ 7 w 67"/>
                  <a:gd name="T21" fmla="*/ 8 h 49"/>
                  <a:gd name="T22" fmla="*/ 7 w 67"/>
                  <a:gd name="T23" fmla="*/ 8 h 49"/>
                  <a:gd name="T24" fmla="*/ 7 w 67"/>
                  <a:gd name="T25" fmla="*/ 1 h 49"/>
                  <a:gd name="T26" fmla="*/ 0 w 67"/>
                  <a:gd name="T27" fmla="*/ 1 h 49"/>
                  <a:gd name="T28" fmla="*/ 0 w 67"/>
                  <a:gd name="T29" fmla="*/ 49 h 49"/>
                  <a:gd name="T30" fmla="*/ 7 w 67"/>
                  <a:gd name="T31" fmla="*/ 49 h 49"/>
                  <a:gd name="T32" fmla="*/ 7 w 67"/>
                  <a:gd name="T33" fmla="*/ 19 h 49"/>
                  <a:gd name="T34" fmla="*/ 8 w 67"/>
                  <a:gd name="T35" fmla="*/ 16 h 49"/>
                  <a:gd name="T36" fmla="*/ 10 w 67"/>
                  <a:gd name="T37" fmla="*/ 12 h 49"/>
                  <a:gd name="T38" fmla="*/ 14 w 67"/>
                  <a:gd name="T39" fmla="*/ 8 h 49"/>
                  <a:gd name="T40" fmla="*/ 20 w 67"/>
                  <a:gd name="T41" fmla="*/ 7 h 49"/>
                  <a:gd name="T42" fmla="*/ 25 w 67"/>
                  <a:gd name="T43" fmla="*/ 8 h 49"/>
                  <a:gd name="T44" fmla="*/ 28 w 67"/>
                  <a:gd name="T45" fmla="*/ 10 h 49"/>
                  <a:gd name="T46" fmla="*/ 29 w 67"/>
                  <a:gd name="T47" fmla="*/ 13 h 49"/>
                  <a:gd name="T48" fmla="*/ 30 w 67"/>
                  <a:gd name="T49" fmla="*/ 18 h 49"/>
                  <a:gd name="T50" fmla="*/ 30 w 67"/>
                  <a:gd name="T51" fmla="*/ 49 h 49"/>
                  <a:gd name="T52" fmla="*/ 37 w 67"/>
                  <a:gd name="T53" fmla="*/ 49 h 49"/>
                  <a:gd name="T54" fmla="*/ 37 w 67"/>
                  <a:gd name="T55" fmla="*/ 19 h 49"/>
                  <a:gd name="T56" fmla="*/ 40 w 67"/>
                  <a:gd name="T57" fmla="*/ 10 h 49"/>
                  <a:gd name="T58" fmla="*/ 50 w 67"/>
                  <a:gd name="T59" fmla="*/ 7 h 49"/>
                  <a:gd name="T60" fmla="*/ 55 w 67"/>
                  <a:gd name="T61" fmla="*/ 8 h 49"/>
                  <a:gd name="T62" fmla="*/ 58 w 67"/>
                  <a:gd name="T63" fmla="*/ 10 h 49"/>
                  <a:gd name="T64" fmla="*/ 59 w 67"/>
                  <a:gd name="T65" fmla="*/ 13 h 49"/>
                  <a:gd name="T66" fmla="*/ 59 w 67"/>
                  <a:gd name="T67" fmla="*/ 18 h 49"/>
                  <a:gd name="T68" fmla="*/ 59 w 67"/>
                  <a:gd name="T69" fmla="*/ 49 h 49"/>
                  <a:gd name="T70" fmla="*/ 67 w 67"/>
                  <a:gd name="T71" fmla="*/ 49 h 49"/>
                  <a:gd name="T72" fmla="*/ 67 w 67"/>
                  <a:gd name="T73" fmla="*/ 14 h 49"/>
                  <a:gd name="T74" fmla="*/ 66 w 67"/>
                  <a:gd name="T75" fmla="*/ 8 h 49"/>
                  <a:gd name="T76" fmla="*/ 62 w 67"/>
                  <a:gd name="T77" fmla="*/ 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7" h="49">
                    <a:moveTo>
                      <a:pt x="62" y="3"/>
                    </a:moveTo>
                    <a:cubicBezTo>
                      <a:pt x="61" y="2"/>
                      <a:pt x="59" y="2"/>
                      <a:pt x="58" y="1"/>
                    </a:cubicBezTo>
                    <a:cubicBezTo>
                      <a:pt x="56" y="1"/>
                      <a:pt x="53" y="0"/>
                      <a:pt x="51" y="0"/>
                    </a:cubicBezTo>
                    <a:cubicBezTo>
                      <a:pt x="48" y="0"/>
                      <a:pt x="45" y="1"/>
                      <a:pt x="42" y="2"/>
                    </a:cubicBezTo>
                    <a:cubicBezTo>
                      <a:pt x="40" y="4"/>
                      <a:pt x="38" y="6"/>
                      <a:pt x="36" y="8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5" y="5"/>
                      <a:pt x="33" y="3"/>
                      <a:pt x="31" y="2"/>
                    </a:cubicBezTo>
                    <a:cubicBezTo>
                      <a:pt x="28" y="1"/>
                      <a:pt x="26" y="0"/>
                      <a:pt x="23" y="0"/>
                    </a:cubicBezTo>
                    <a:cubicBezTo>
                      <a:pt x="16" y="0"/>
                      <a:pt x="11" y="3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7" y="18"/>
                      <a:pt x="8" y="17"/>
                      <a:pt x="8" y="16"/>
                    </a:cubicBezTo>
                    <a:cubicBezTo>
                      <a:pt x="9" y="14"/>
                      <a:pt x="9" y="13"/>
                      <a:pt x="10" y="12"/>
                    </a:cubicBezTo>
                    <a:cubicBezTo>
                      <a:pt x="11" y="10"/>
                      <a:pt x="13" y="9"/>
                      <a:pt x="14" y="8"/>
                    </a:cubicBezTo>
                    <a:cubicBezTo>
                      <a:pt x="16" y="7"/>
                      <a:pt x="18" y="7"/>
                      <a:pt x="20" y="7"/>
                    </a:cubicBezTo>
                    <a:cubicBezTo>
                      <a:pt x="22" y="7"/>
                      <a:pt x="24" y="7"/>
                      <a:pt x="25" y="8"/>
                    </a:cubicBezTo>
                    <a:cubicBezTo>
                      <a:pt x="26" y="8"/>
                      <a:pt x="27" y="9"/>
                      <a:pt x="28" y="10"/>
                    </a:cubicBezTo>
                    <a:cubicBezTo>
                      <a:pt x="28" y="11"/>
                      <a:pt x="29" y="12"/>
                      <a:pt x="29" y="13"/>
                    </a:cubicBezTo>
                    <a:cubicBezTo>
                      <a:pt x="30" y="15"/>
                      <a:pt x="30" y="16"/>
                      <a:pt x="30" y="18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37" y="49"/>
                      <a:pt x="37" y="49"/>
                      <a:pt x="37" y="49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5"/>
                      <a:pt x="38" y="12"/>
                      <a:pt x="40" y="10"/>
                    </a:cubicBezTo>
                    <a:cubicBezTo>
                      <a:pt x="43" y="8"/>
                      <a:pt x="46" y="7"/>
                      <a:pt x="50" y="7"/>
                    </a:cubicBezTo>
                    <a:cubicBezTo>
                      <a:pt x="52" y="7"/>
                      <a:pt x="53" y="7"/>
                      <a:pt x="55" y="8"/>
                    </a:cubicBezTo>
                    <a:cubicBezTo>
                      <a:pt x="56" y="8"/>
                      <a:pt x="57" y="9"/>
                      <a:pt x="58" y="10"/>
                    </a:cubicBezTo>
                    <a:cubicBezTo>
                      <a:pt x="58" y="11"/>
                      <a:pt x="59" y="12"/>
                      <a:pt x="59" y="13"/>
                    </a:cubicBezTo>
                    <a:cubicBezTo>
                      <a:pt x="59" y="15"/>
                      <a:pt x="59" y="16"/>
                      <a:pt x="59" y="18"/>
                    </a:cubicBezTo>
                    <a:cubicBezTo>
                      <a:pt x="59" y="49"/>
                      <a:pt x="59" y="49"/>
                      <a:pt x="59" y="49"/>
                    </a:cubicBezTo>
                    <a:cubicBezTo>
                      <a:pt x="67" y="49"/>
                      <a:pt x="67" y="49"/>
                      <a:pt x="67" y="49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7" y="11"/>
                      <a:pt x="66" y="9"/>
                      <a:pt x="66" y="8"/>
                    </a:cubicBezTo>
                    <a:cubicBezTo>
                      <a:pt x="65" y="6"/>
                      <a:pt x="64" y="5"/>
                      <a:pt x="62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48" name="Freeform 26"/>
              <p:cNvSpPr>
                <a:spLocks noEditPoints="1"/>
              </p:cNvSpPr>
              <p:nvPr userDrawn="1"/>
            </p:nvSpPr>
            <p:spPr bwMode="auto">
              <a:xfrm>
                <a:off x="3309938" y="1538288"/>
                <a:ext cx="23813" cy="220663"/>
              </a:xfrm>
              <a:custGeom>
                <a:avLst/>
                <a:gdLst>
                  <a:gd name="T0" fmla="*/ 15 w 15"/>
                  <a:gd name="T1" fmla="*/ 19 h 139"/>
                  <a:gd name="T2" fmla="*/ 0 w 15"/>
                  <a:gd name="T3" fmla="*/ 19 h 139"/>
                  <a:gd name="T4" fmla="*/ 0 w 15"/>
                  <a:gd name="T5" fmla="*/ 0 h 139"/>
                  <a:gd name="T6" fmla="*/ 15 w 15"/>
                  <a:gd name="T7" fmla="*/ 0 h 139"/>
                  <a:gd name="T8" fmla="*/ 15 w 15"/>
                  <a:gd name="T9" fmla="*/ 19 h 139"/>
                  <a:gd name="T10" fmla="*/ 15 w 15"/>
                  <a:gd name="T11" fmla="*/ 38 h 139"/>
                  <a:gd name="T12" fmla="*/ 0 w 15"/>
                  <a:gd name="T13" fmla="*/ 38 h 139"/>
                  <a:gd name="T14" fmla="*/ 0 w 15"/>
                  <a:gd name="T15" fmla="*/ 139 h 139"/>
                  <a:gd name="T16" fmla="*/ 15 w 15"/>
                  <a:gd name="T17" fmla="*/ 139 h 139"/>
                  <a:gd name="T18" fmla="*/ 15 w 15"/>
                  <a:gd name="T19" fmla="*/ 38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139">
                    <a:moveTo>
                      <a:pt x="15" y="19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19"/>
                    </a:lnTo>
                    <a:close/>
                    <a:moveTo>
                      <a:pt x="15" y="38"/>
                    </a:moveTo>
                    <a:lnTo>
                      <a:pt x="0" y="38"/>
                    </a:lnTo>
                    <a:lnTo>
                      <a:pt x="0" y="139"/>
                    </a:lnTo>
                    <a:lnTo>
                      <a:pt x="15" y="139"/>
                    </a:lnTo>
                    <a:lnTo>
                      <a:pt x="15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49" name="Freeform 27"/>
              <p:cNvSpPr>
                <a:spLocks/>
              </p:cNvSpPr>
              <p:nvPr userDrawn="1"/>
            </p:nvSpPr>
            <p:spPr bwMode="auto">
              <a:xfrm>
                <a:off x="3367088" y="1595438"/>
                <a:ext cx="134938" cy="166688"/>
              </a:xfrm>
              <a:custGeom>
                <a:avLst/>
                <a:gdLst>
                  <a:gd name="T0" fmla="*/ 34 w 41"/>
                  <a:gd name="T1" fmla="*/ 47 h 50"/>
                  <a:gd name="T2" fmla="*/ 39 w 41"/>
                  <a:gd name="T3" fmla="*/ 42 h 50"/>
                  <a:gd name="T4" fmla="*/ 41 w 41"/>
                  <a:gd name="T5" fmla="*/ 35 h 50"/>
                  <a:gd name="T6" fmla="*/ 39 w 41"/>
                  <a:gd name="T7" fmla="*/ 29 h 50"/>
                  <a:gd name="T8" fmla="*/ 36 w 41"/>
                  <a:gd name="T9" fmla="*/ 26 h 50"/>
                  <a:gd name="T10" fmla="*/ 31 w 41"/>
                  <a:gd name="T11" fmla="*/ 23 h 50"/>
                  <a:gd name="T12" fmla="*/ 25 w 41"/>
                  <a:gd name="T13" fmla="*/ 22 h 50"/>
                  <a:gd name="T14" fmla="*/ 19 w 41"/>
                  <a:gd name="T15" fmla="*/ 20 h 50"/>
                  <a:gd name="T16" fmla="*/ 14 w 41"/>
                  <a:gd name="T17" fmla="*/ 19 h 50"/>
                  <a:gd name="T18" fmla="*/ 11 w 41"/>
                  <a:gd name="T19" fmla="*/ 17 h 50"/>
                  <a:gd name="T20" fmla="*/ 9 w 41"/>
                  <a:gd name="T21" fmla="*/ 13 h 50"/>
                  <a:gd name="T22" fmla="*/ 10 w 41"/>
                  <a:gd name="T23" fmla="*/ 10 h 50"/>
                  <a:gd name="T24" fmla="*/ 13 w 41"/>
                  <a:gd name="T25" fmla="*/ 8 h 50"/>
                  <a:gd name="T26" fmla="*/ 16 w 41"/>
                  <a:gd name="T27" fmla="*/ 7 h 50"/>
                  <a:gd name="T28" fmla="*/ 24 w 41"/>
                  <a:gd name="T29" fmla="*/ 7 h 50"/>
                  <a:gd name="T30" fmla="*/ 27 w 41"/>
                  <a:gd name="T31" fmla="*/ 9 h 50"/>
                  <a:gd name="T32" fmla="*/ 30 w 41"/>
                  <a:gd name="T33" fmla="*/ 11 h 50"/>
                  <a:gd name="T34" fmla="*/ 31 w 41"/>
                  <a:gd name="T35" fmla="*/ 15 h 50"/>
                  <a:gd name="T36" fmla="*/ 38 w 41"/>
                  <a:gd name="T37" fmla="*/ 15 h 50"/>
                  <a:gd name="T38" fmla="*/ 37 w 41"/>
                  <a:gd name="T39" fmla="*/ 8 h 50"/>
                  <a:gd name="T40" fmla="*/ 32 w 41"/>
                  <a:gd name="T41" fmla="*/ 3 h 50"/>
                  <a:gd name="T42" fmla="*/ 26 w 41"/>
                  <a:gd name="T43" fmla="*/ 1 h 50"/>
                  <a:gd name="T44" fmla="*/ 19 w 41"/>
                  <a:gd name="T45" fmla="*/ 0 h 50"/>
                  <a:gd name="T46" fmla="*/ 13 w 41"/>
                  <a:gd name="T47" fmla="*/ 1 h 50"/>
                  <a:gd name="T48" fmla="*/ 7 w 41"/>
                  <a:gd name="T49" fmla="*/ 3 h 50"/>
                  <a:gd name="T50" fmla="*/ 3 w 41"/>
                  <a:gd name="T51" fmla="*/ 8 h 50"/>
                  <a:gd name="T52" fmla="*/ 1 w 41"/>
                  <a:gd name="T53" fmla="*/ 14 h 50"/>
                  <a:gd name="T54" fmla="*/ 4 w 41"/>
                  <a:gd name="T55" fmla="*/ 21 h 50"/>
                  <a:gd name="T56" fmla="*/ 9 w 41"/>
                  <a:gd name="T57" fmla="*/ 25 h 50"/>
                  <a:gd name="T58" fmla="*/ 17 w 41"/>
                  <a:gd name="T59" fmla="*/ 27 h 50"/>
                  <a:gd name="T60" fmla="*/ 24 w 41"/>
                  <a:gd name="T61" fmla="*/ 29 h 50"/>
                  <a:gd name="T62" fmla="*/ 30 w 41"/>
                  <a:gd name="T63" fmla="*/ 31 h 50"/>
                  <a:gd name="T64" fmla="*/ 33 w 41"/>
                  <a:gd name="T65" fmla="*/ 36 h 50"/>
                  <a:gd name="T66" fmla="*/ 32 w 41"/>
                  <a:gd name="T67" fmla="*/ 40 h 50"/>
                  <a:gd name="T68" fmla="*/ 29 w 41"/>
                  <a:gd name="T69" fmla="*/ 42 h 50"/>
                  <a:gd name="T70" fmla="*/ 25 w 41"/>
                  <a:gd name="T71" fmla="*/ 43 h 50"/>
                  <a:gd name="T72" fmla="*/ 16 w 41"/>
                  <a:gd name="T73" fmla="*/ 43 h 50"/>
                  <a:gd name="T74" fmla="*/ 12 w 41"/>
                  <a:gd name="T75" fmla="*/ 41 h 50"/>
                  <a:gd name="T76" fmla="*/ 9 w 41"/>
                  <a:gd name="T77" fmla="*/ 38 h 50"/>
                  <a:gd name="T78" fmla="*/ 8 w 41"/>
                  <a:gd name="T79" fmla="*/ 34 h 50"/>
                  <a:gd name="T80" fmla="*/ 0 w 41"/>
                  <a:gd name="T81" fmla="*/ 34 h 50"/>
                  <a:gd name="T82" fmla="*/ 2 w 41"/>
                  <a:gd name="T83" fmla="*/ 41 h 50"/>
                  <a:gd name="T84" fmla="*/ 7 w 41"/>
                  <a:gd name="T85" fmla="*/ 46 h 50"/>
                  <a:gd name="T86" fmla="*/ 13 w 41"/>
                  <a:gd name="T87" fmla="*/ 49 h 50"/>
                  <a:gd name="T88" fmla="*/ 28 w 41"/>
                  <a:gd name="T89" fmla="*/ 49 h 50"/>
                  <a:gd name="T90" fmla="*/ 34 w 41"/>
                  <a:gd name="T91" fmla="*/ 4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1" h="50">
                    <a:moveTo>
                      <a:pt x="34" y="47"/>
                    </a:moveTo>
                    <a:cubicBezTo>
                      <a:pt x="36" y="46"/>
                      <a:pt x="38" y="44"/>
                      <a:pt x="39" y="42"/>
                    </a:cubicBezTo>
                    <a:cubicBezTo>
                      <a:pt x="40" y="40"/>
                      <a:pt x="41" y="38"/>
                      <a:pt x="41" y="35"/>
                    </a:cubicBezTo>
                    <a:cubicBezTo>
                      <a:pt x="41" y="33"/>
                      <a:pt x="40" y="31"/>
                      <a:pt x="39" y="29"/>
                    </a:cubicBezTo>
                    <a:cubicBezTo>
                      <a:pt x="38" y="28"/>
                      <a:pt x="37" y="27"/>
                      <a:pt x="36" y="26"/>
                    </a:cubicBezTo>
                    <a:cubicBezTo>
                      <a:pt x="34" y="25"/>
                      <a:pt x="33" y="24"/>
                      <a:pt x="31" y="23"/>
                    </a:cubicBezTo>
                    <a:cubicBezTo>
                      <a:pt x="29" y="23"/>
                      <a:pt x="27" y="22"/>
                      <a:pt x="25" y="22"/>
                    </a:cubicBezTo>
                    <a:cubicBezTo>
                      <a:pt x="23" y="21"/>
                      <a:pt x="21" y="21"/>
                      <a:pt x="19" y="20"/>
                    </a:cubicBezTo>
                    <a:cubicBezTo>
                      <a:pt x="18" y="20"/>
                      <a:pt x="16" y="20"/>
                      <a:pt x="14" y="19"/>
                    </a:cubicBezTo>
                    <a:cubicBezTo>
                      <a:pt x="13" y="18"/>
                      <a:pt x="12" y="18"/>
                      <a:pt x="11" y="17"/>
                    </a:cubicBezTo>
                    <a:cubicBezTo>
                      <a:pt x="10" y="16"/>
                      <a:pt x="9" y="15"/>
                      <a:pt x="9" y="13"/>
                    </a:cubicBezTo>
                    <a:cubicBezTo>
                      <a:pt x="9" y="12"/>
                      <a:pt x="10" y="11"/>
                      <a:pt x="10" y="10"/>
                    </a:cubicBezTo>
                    <a:cubicBezTo>
                      <a:pt x="11" y="9"/>
                      <a:pt x="12" y="8"/>
                      <a:pt x="13" y="8"/>
                    </a:cubicBezTo>
                    <a:cubicBezTo>
                      <a:pt x="14" y="8"/>
                      <a:pt x="15" y="7"/>
                      <a:pt x="16" y="7"/>
                    </a:cubicBezTo>
                    <a:cubicBezTo>
                      <a:pt x="19" y="7"/>
                      <a:pt x="21" y="7"/>
                      <a:pt x="24" y="7"/>
                    </a:cubicBezTo>
                    <a:cubicBezTo>
                      <a:pt x="25" y="7"/>
                      <a:pt x="26" y="8"/>
                      <a:pt x="27" y="9"/>
                    </a:cubicBezTo>
                    <a:cubicBezTo>
                      <a:pt x="28" y="9"/>
                      <a:pt x="29" y="10"/>
                      <a:pt x="30" y="11"/>
                    </a:cubicBezTo>
                    <a:cubicBezTo>
                      <a:pt x="30" y="12"/>
                      <a:pt x="31" y="13"/>
                      <a:pt x="31" y="15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8" y="12"/>
                      <a:pt x="38" y="10"/>
                      <a:pt x="37" y="8"/>
                    </a:cubicBezTo>
                    <a:cubicBezTo>
                      <a:pt x="36" y="6"/>
                      <a:pt x="34" y="4"/>
                      <a:pt x="32" y="3"/>
                    </a:cubicBezTo>
                    <a:cubicBezTo>
                      <a:pt x="31" y="2"/>
                      <a:pt x="29" y="1"/>
                      <a:pt x="26" y="1"/>
                    </a:cubicBezTo>
                    <a:cubicBezTo>
                      <a:pt x="24" y="1"/>
                      <a:pt x="22" y="0"/>
                      <a:pt x="19" y="0"/>
                    </a:cubicBezTo>
                    <a:cubicBezTo>
                      <a:pt x="17" y="0"/>
                      <a:pt x="15" y="1"/>
                      <a:pt x="13" y="1"/>
                    </a:cubicBezTo>
                    <a:cubicBezTo>
                      <a:pt x="11" y="2"/>
                      <a:pt x="9" y="2"/>
                      <a:pt x="7" y="3"/>
                    </a:cubicBezTo>
                    <a:cubicBezTo>
                      <a:pt x="5" y="4"/>
                      <a:pt x="4" y="6"/>
                      <a:pt x="3" y="8"/>
                    </a:cubicBezTo>
                    <a:cubicBezTo>
                      <a:pt x="2" y="9"/>
                      <a:pt x="1" y="11"/>
                      <a:pt x="1" y="14"/>
                    </a:cubicBezTo>
                    <a:cubicBezTo>
                      <a:pt x="1" y="17"/>
                      <a:pt x="2" y="19"/>
                      <a:pt x="4" y="21"/>
                    </a:cubicBezTo>
                    <a:cubicBezTo>
                      <a:pt x="5" y="22"/>
                      <a:pt x="7" y="24"/>
                      <a:pt x="9" y="25"/>
                    </a:cubicBezTo>
                    <a:cubicBezTo>
                      <a:pt x="12" y="26"/>
                      <a:pt x="14" y="26"/>
                      <a:pt x="17" y="27"/>
                    </a:cubicBezTo>
                    <a:cubicBezTo>
                      <a:pt x="20" y="27"/>
                      <a:pt x="22" y="28"/>
                      <a:pt x="24" y="29"/>
                    </a:cubicBezTo>
                    <a:cubicBezTo>
                      <a:pt x="27" y="29"/>
                      <a:pt x="29" y="30"/>
                      <a:pt x="30" y="31"/>
                    </a:cubicBezTo>
                    <a:cubicBezTo>
                      <a:pt x="32" y="32"/>
                      <a:pt x="33" y="34"/>
                      <a:pt x="33" y="36"/>
                    </a:cubicBezTo>
                    <a:cubicBezTo>
                      <a:pt x="33" y="38"/>
                      <a:pt x="32" y="39"/>
                      <a:pt x="32" y="40"/>
                    </a:cubicBezTo>
                    <a:cubicBezTo>
                      <a:pt x="31" y="41"/>
                      <a:pt x="30" y="42"/>
                      <a:pt x="29" y="42"/>
                    </a:cubicBezTo>
                    <a:cubicBezTo>
                      <a:pt x="27" y="43"/>
                      <a:pt x="26" y="43"/>
                      <a:pt x="25" y="43"/>
                    </a:cubicBezTo>
                    <a:cubicBezTo>
                      <a:pt x="22" y="44"/>
                      <a:pt x="19" y="44"/>
                      <a:pt x="16" y="43"/>
                    </a:cubicBezTo>
                    <a:cubicBezTo>
                      <a:pt x="15" y="43"/>
                      <a:pt x="13" y="42"/>
                      <a:pt x="12" y="41"/>
                    </a:cubicBezTo>
                    <a:cubicBezTo>
                      <a:pt x="11" y="41"/>
                      <a:pt x="10" y="40"/>
                      <a:pt x="9" y="38"/>
                    </a:cubicBezTo>
                    <a:cubicBezTo>
                      <a:pt x="8" y="37"/>
                      <a:pt x="8" y="36"/>
                      <a:pt x="8" y="34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7"/>
                      <a:pt x="1" y="39"/>
                      <a:pt x="2" y="41"/>
                    </a:cubicBezTo>
                    <a:cubicBezTo>
                      <a:pt x="3" y="43"/>
                      <a:pt x="5" y="45"/>
                      <a:pt x="7" y="46"/>
                    </a:cubicBezTo>
                    <a:cubicBezTo>
                      <a:pt x="8" y="48"/>
                      <a:pt x="10" y="48"/>
                      <a:pt x="13" y="49"/>
                    </a:cubicBezTo>
                    <a:cubicBezTo>
                      <a:pt x="17" y="50"/>
                      <a:pt x="23" y="50"/>
                      <a:pt x="28" y="49"/>
                    </a:cubicBezTo>
                    <a:cubicBezTo>
                      <a:pt x="30" y="49"/>
                      <a:pt x="32" y="48"/>
                      <a:pt x="34" y="4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51" name="Freeform 28"/>
              <p:cNvSpPr>
                <a:spLocks/>
              </p:cNvSpPr>
              <p:nvPr userDrawn="1"/>
            </p:nvSpPr>
            <p:spPr bwMode="auto">
              <a:xfrm>
                <a:off x="3516313" y="1552575"/>
                <a:ext cx="82550" cy="206375"/>
              </a:xfrm>
              <a:custGeom>
                <a:avLst/>
                <a:gdLst>
                  <a:gd name="T0" fmla="*/ 16 w 25"/>
                  <a:gd name="T1" fmla="*/ 0 h 62"/>
                  <a:gd name="T2" fmla="*/ 8 w 25"/>
                  <a:gd name="T3" fmla="*/ 0 h 62"/>
                  <a:gd name="T4" fmla="*/ 8 w 25"/>
                  <a:gd name="T5" fmla="*/ 14 h 62"/>
                  <a:gd name="T6" fmla="*/ 0 w 25"/>
                  <a:gd name="T7" fmla="*/ 14 h 62"/>
                  <a:gd name="T8" fmla="*/ 0 w 25"/>
                  <a:gd name="T9" fmla="*/ 21 h 62"/>
                  <a:gd name="T10" fmla="*/ 8 w 25"/>
                  <a:gd name="T11" fmla="*/ 21 h 62"/>
                  <a:gd name="T12" fmla="*/ 8 w 25"/>
                  <a:gd name="T13" fmla="*/ 52 h 62"/>
                  <a:gd name="T14" fmla="*/ 9 w 25"/>
                  <a:gd name="T15" fmla="*/ 57 h 62"/>
                  <a:gd name="T16" fmla="*/ 11 w 25"/>
                  <a:gd name="T17" fmla="*/ 60 h 62"/>
                  <a:gd name="T18" fmla="*/ 14 w 25"/>
                  <a:gd name="T19" fmla="*/ 61 h 62"/>
                  <a:gd name="T20" fmla="*/ 19 w 25"/>
                  <a:gd name="T21" fmla="*/ 62 h 62"/>
                  <a:gd name="T22" fmla="*/ 25 w 25"/>
                  <a:gd name="T23" fmla="*/ 62 h 62"/>
                  <a:gd name="T24" fmla="*/ 25 w 25"/>
                  <a:gd name="T25" fmla="*/ 55 h 62"/>
                  <a:gd name="T26" fmla="*/ 22 w 25"/>
                  <a:gd name="T27" fmla="*/ 55 h 62"/>
                  <a:gd name="T28" fmla="*/ 19 w 25"/>
                  <a:gd name="T29" fmla="*/ 55 h 62"/>
                  <a:gd name="T30" fmla="*/ 17 w 25"/>
                  <a:gd name="T31" fmla="*/ 55 h 62"/>
                  <a:gd name="T32" fmla="*/ 16 w 25"/>
                  <a:gd name="T33" fmla="*/ 53 h 62"/>
                  <a:gd name="T34" fmla="*/ 16 w 25"/>
                  <a:gd name="T35" fmla="*/ 51 h 62"/>
                  <a:gd name="T36" fmla="*/ 16 w 25"/>
                  <a:gd name="T37" fmla="*/ 21 h 62"/>
                  <a:gd name="T38" fmla="*/ 25 w 25"/>
                  <a:gd name="T39" fmla="*/ 21 h 62"/>
                  <a:gd name="T40" fmla="*/ 25 w 25"/>
                  <a:gd name="T41" fmla="*/ 14 h 62"/>
                  <a:gd name="T42" fmla="*/ 16 w 25"/>
                  <a:gd name="T43" fmla="*/ 14 h 62"/>
                  <a:gd name="T44" fmla="*/ 16 w 25"/>
                  <a:gd name="T4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5" h="62">
                    <a:moveTo>
                      <a:pt x="16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8" y="54"/>
                      <a:pt x="8" y="56"/>
                      <a:pt x="9" y="57"/>
                    </a:cubicBezTo>
                    <a:cubicBezTo>
                      <a:pt x="9" y="58"/>
                      <a:pt x="10" y="59"/>
                      <a:pt x="11" y="60"/>
                    </a:cubicBezTo>
                    <a:cubicBezTo>
                      <a:pt x="12" y="61"/>
                      <a:pt x="13" y="61"/>
                      <a:pt x="14" y="61"/>
                    </a:cubicBezTo>
                    <a:cubicBezTo>
                      <a:pt x="16" y="62"/>
                      <a:pt x="17" y="62"/>
                      <a:pt x="19" y="62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0" y="55"/>
                      <a:pt x="19" y="55"/>
                      <a:pt x="19" y="55"/>
                    </a:cubicBezTo>
                    <a:cubicBezTo>
                      <a:pt x="18" y="55"/>
                      <a:pt x="17" y="55"/>
                      <a:pt x="17" y="55"/>
                    </a:cubicBezTo>
                    <a:cubicBezTo>
                      <a:pt x="16" y="54"/>
                      <a:pt x="16" y="54"/>
                      <a:pt x="16" y="53"/>
                    </a:cubicBezTo>
                    <a:cubicBezTo>
                      <a:pt x="16" y="53"/>
                      <a:pt x="16" y="52"/>
                      <a:pt x="16" y="5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16" y="14"/>
                      <a:pt x="16" y="14"/>
                      <a:pt x="16" y="14"/>
                    </a:cubicBez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52" name="Freeform 29"/>
              <p:cNvSpPr>
                <a:spLocks/>
              </p:cNvSpPr>
              <p:nvPr userDrawn="1"/>
            </p:nvSpPr>
            <p:spPr bwMode="auto">
              <a:xfrm>
                <a:off x="2168525" y="1552575"/>
                <a:ext cx="85725" cy="206375"/>
              </a:xfrm>
              <a:custGeom>
                <a:avLst/>
                <a:gdLst>
                  <a:gd name="T0" fmla="*/ 16 w 26"/>
                  <a:gd name="T1" fmla="*/ 0 h 62"/>
                  <a:gd name="T2" fmla="*/ 8 w 26"/>
                  <a:gd name="T3" fmla="*/ 0 h 62"/>
                  <a:gd name="T4" fmla="*/ 8 w 26"/>
                  <a:gd name="T5" fmla="*/ 14 h 62"/>
                  <a:gd name="T6" fmla="*/ 0 w 26"/>
                  <a:gd name="T7" fmla="*/ 14 h 62"/>
                  <a:gd name="T8" fmla="*/ 0 w 26"/>
                  <a:gd name="T9" fmla="*/ 21 h 62"/>
                  <a:gd name="T10" fmla="*/ 8 w 26"/>
                  <a:gd name="T11" fmla="*/ 21 h 62"/>
                  <a:gd name="T12" fmla="*/ 8 w 26"/>
                  <a:gd name="T13" fmla="*/ 52 h 62"/>
                  <a:gd name="T14" fmla="*/ 9 w 26"/>
                  <a:gd name="T15" fmla="*/ 57 h 62"/>
                  <a:gd name="T16" fmla="*/ 11 w 26"/>
                  <a:gd name="T17" fmla="*/ 60 h 62"/>
                  <a:gd name="T18" fmla="*/ 14 w 26"/>
                  <a:gd name="T19" fmla="*/ 61 h 62"/>
                  <a:gd name="T20" fmla="*/ 19 w 26"/>
                  <a:gd name="T21" fmla="*/ 62 h 62"/>
                  <a:gd name="T22" fmla="*/ 25 w 26"/>
                  <a:gd name="T23" fmla="*/ 62 h 62"/>
                  <a:gd name="T24" fmla="*/ 25 w 26"/>
                  <a:gd name="T25" fmla="*/ 55 h 62"/>
                  <a:gd name="T26" fmla="*/ 22 w 26"/>
                  <a:gd name="T27" fmla="*/ 55 h 62"/>
                  <a:gd name="T28" fmla="*/ 19 w 26"/>
                  <a:gd name="T29" fmla="*/ 55 h 62"/>
                  <a:gd name="T30" fmla="*/ 17 w 26"/>
                  <a:gd name="T31" fmla="*/ 55 h 62"/>
                  <a:gd name="T32" fmla="*/ 16 w 26"/>
                  <a:gd name="T33" fmla="*/ 53 h 62"/>
                  <a:gd name="T34" fmla="*/ 16 w 26"/>
                  <a:gd name="T35" fmla="*/ 51 h 62"/>
                  <a:gd name="T36" fmla="*/ 16 w 26"/>
                  <a:gd name="T37" fmla="*/ 21 h 62"/>
                  <a:gd name="T38" fmla="*/ 26 w 26"/>
                  <a:gd name="T39" fmla="*/ 21 h 62"/>
                  <a:gd name="T40" fmla="*/ 26 w 26"/>
                  <a:gd name="T41" fmla="*/ 14 h 62"/>
                  <a:gd name="T42" fmla="*/ 16 w 26"/>
                  <a:gd name="T43" fmla="*/ 14 h 62"/>
                  <a:gd name="T44" fmla="*/ 16 w 26"/>
                  <a:gd name="T4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" h="62">
                    <a:moveTo>
                      <a:pt x="16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8" y="54"/>
                      <a:pt x="9" y="56"/>
                      <a:pt x="9" y="57"/>
                    </a:cubicBezTo>
                    <a:cubicBezTo>
                      <a:pt x="9" y="58"/>
                      <a:pt x="10" y="59"/>
                      <a:pt x="11" y="60"/>
                    </a:cubicBezTo>
                    <a:cubicBezTo>
                      <a:pt x="12" y="61"/>
                      <a:pt x="13" y="61"/>
                      <a:pt x="14" y="61"/>
                    </a:cubicBezTo>
                    <a:cubicBezTo>
                      <a:pt x="16" y="62"/>
                      <a:pt x="17" y="62"/>
                      <a:pt x="19" y="62"/>
                    </a:cubicBezTo>
                    <a:cubicBezTo>
                      <a:pt x="25" y="62"/>
                      <a:pt x="25" y="62"/>
                      <a:pt x="25" y="62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1" y="55"/>
                      <a:pt x="20" y="55"/>
                      <a:pt x="19" y="55"/>
                    </a:cubicBezTo>
                    <a:cubicBezTo>
                      <a:pt x="18" y="55"/>
                      <a:pt x="17" y="55"/>
                      <a:pt x="17" y="55"/>
                    </a:cubicBezTo>
                    <a:cubicBezTo>
                      <a:pt x="16" y="54"/>
                      <a:pt x="16" y="54"/>
                      <a:pt x="16" y="53"/>
                    </a:cubicBezTo>
                    <a:cubicBezTo>
                      <a:pt x="16" y="53"/>
                      <a:pt x="16" y="52"/>
                      <a:pt x="16" y="5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26" y="21"/>
                      <a:pt x="26" y="21"/>
                      <a:pt x="26" y="21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16" y="14"/>
                      <a:pt x="16" y="14"/>
                      <a:pt x="16" y="14"/>
                    </a:cubicBez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53" name="Freeform 30"/>
              <p:cNvSpPr>
                <a:spLocks/>
              </p:cNvSpPr>
              <p:nvPr userDrawn="1"/>
            </p:nvSpPr>
            <p:spPr bwMode="auto">
              <a:xfrm>
                <a:off x="3635375" y="1598613"/>
                <a:ext cx="84138" cy="160338"/>
              </a:xfrm>
              <a:custGeom>
                <a:avLst/>
                <a:gdLst>
                  <a:gd name="T0" fmla="*/ 8 w 25"/>
                  <a:gd name="T1" fmla="*/ 11 h 48"/>
                  <a:gd name="T2" fmla="*/ 8 w 25"/>
                  <a:gd name="T3" fmla="*/ 11 h 48"/>
                  <a:gd name="T4" fmla="*/ 7 w 25"/>
                  <a:gd name="T5" fmla="*/ 11 h 48"/>
                  <a:gd name="T6" fmla="*/ 7 w 25"/>
                  <a:gd name="T7" fmla="*/ 0 h 48"/>
                  <a:gd name="T8" fmla="*/ 0 w 25"/>
                  <a:gd name="T9" fmla="*/ 0 h 48"/>
                  <a:gd name="T10" fmla="*/ 0 w 25"/>
                  <a:gd name="T11" fmla="*/ 48 h 48"/>
                  <a:gd name="T12" fmla="*/ 8 w 25"/>
                  <a:gd name="T13" fmla="*/ 48 h 48"/>
                  <a:gd name="T14" fmla="*/ 8 w 25"/>
                  <a:gd name="T15" fmla="*/ 27 h 48"/>
                  <a:gd name="T16" fmla="*/ 9 w 25"/>
                  <a:gd name="T17" fmla="*/ 19 h 48"/>
                  <a:gd name="T18" fmla="*/ 12 w 25"/>
                  <a:gd name="T19" fmla="*/ 13 h 48"/>
                  <a:gd name="T20" fmla="*/ 17 w 25"/>
                  <a:gd name="T21" fmla="*/ 9 h 48"/>
                  <a:gd name="T22" fmla="*/ 25 w 25"/>
                  <a:gd name="T23" fmla="*/ 8 h 48"/>
                  <a:gd name="T24" fmla="*/ 25 w 25"/>
                  <a:gd name="T25" fmla="*/ 0 h 48"/>
                  <a:gd name="T26" fmla="*/ 15 w 25"/>
                  <a:gd name="T27" fmla="*/ 2 h 48"/>
                  <a:gd name="T28" fmla="*/ 8 w 25"/>
                  <a:gd name="T29" fmla="*/ 1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" h="48">
                    <a:moveTo>
                      <a:pt x="8" y="11"/>
                    </a:moveTo>
                    <a:cubicBezTo>
                      <a:pt x="8" y="11"/>
                      <a:pt x="8" y="11"/>
                      <a:pt x="8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8" y="24"/>
                      <a:pt x="8" y="21"/>
                      <a:pt x="9" y="19"/>
                    </a:cubicBezTo>
                    <a:cubicBezTo>
                      <a:pt x="9" y="17"/>
                      <a:pt x="10" y="15"/>
                      <a:pt x="12" y="13"/>
                    </a:cubicBezTo>
                    <a:cubicBezTo>
                      <a:pt x="13" y="11"/>
                      <a:pt x="15" y="10"/>
                      <a:pt x="17" y="9"/>
                    </a:cubicBezTo>
                    <a:cubicBezTo>
                      <a:pt x="19" y="8"/>
                      <a:pt x="22" y="8"/>
                      <a:pt x="25" y="8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1" y="0"/>
                      <a:pt x="18" y="1"/>
                      <a:pt x="15" y="2"/>
                    </a:cubicBezTo>
                    <a:cubicBezTo>
                      <a:pt x="12" y="4"/>
                      <a:pt x="10" y="7"/>
                      <a:pt x="8" y="1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54" name="Freeform 31"/>
              <p:cNvSpPr>
                <a:spLocks/>
              </p:cNvSpPr>
              <p:nvPr userDrawn="1"/>
            </p:nvSpPr>
            <p:spPr bwMode="auto">
              <a:xfrm>
                <a:off x="3732213" y="1598613"/>
                <a:ext cx="146050" cy="223838"/>
              </a:xfrm>
              <a:custGeom>
                <a:avLst/>
                <a:gdLst>
                  <a:gd name="T0" fmla="*/ 20 w 44"/>
                  <a:gd name="T1" fmla="*/ 60 h 67"/>
                  <a:gd name="T2" fmla="*/ 23 w 44"/>
                  <a:gd name="T3" fmla="*/ 54 h 67"/>
                  <a:gd name="T4" fmla="*/ 44 w 44"/>
                  <a:gd name="T5" fmla="*/ 0 h 67"/>
                  <a:gd name="T6" fmla="*/ 36 w 44"/>
                  <a:gd name="T7" fmla="*/ 0 h 67"/>
                  <a:gd name="T8" fmla="*/ 23 w 44"/>
                  <a:gd name="T9" fmla="*/ 40 h 67"/>
                  <a:gd name="T10" fmla="*/ 22 w 44"/>
                  <a:gd name="T11" fmla="*/ 40 h 67"/>
                  <a:gd name="T12" fmla="*/ 22 w 44"/>
                  <a:gd name="T13" fmla="*/ 39 h 67"/>
                  <a:gd name="T14" fmla="*/ 8 w 44"/>
                  <a:gd name="T15" fmla="*/ 0 h 67"/>
                  <a:gd name="T16" fmla="*/ 0 w 44"/>
                  <a:gd name="T17" fmla="*/ 0 h 67"/>
                  <a:gd name="T18" fmla="*/ 19 w 44"/>
                  <a:gd name="T19" fmla="*/ 48 h 67"/>
                  <a:gd name="T20" fmla="*/ 19 w 44"/>
                  <a:gd name="T21" fmla="*/ 48 h 67"/>
                  <a:gd name="T22" fmla="*/ 15 w 44"/>
                  <a:gd name="T23" fmla="*/ 56 h 67"/>
                  <a:gd name="T24" fmla="*/ 13 w 44"/>
                  <a:gd name="T25" fmla="*/ 59 h 67"/>
                  <a:gd name="T26" fmla="*/ 9 w 44"/>
                  <a:gd name="T27" fmla="*/ 60 h 67"/>
                  <a:gd name="T28" fmla="*/ 6 w 44"/>
                  <a:gd name="T29" fmla="*/ 60 h 67"/>
                  <a:gd name="T30" fmla="*/ 4 w 44"/>
                  <a:gd name="T31" fmla="*/ 59 h 67"/>
                  <a:gd name="T32" fmla="*/ 4 w 44"/>
                  <a:gd name="T33" fmla="*/ 66 h 67"/>
                  <a:gd name="T34" fmla="*/ 7 w 44"/>
                  <a:gd name="T35" fmla="*/ 67 h 67"/>
                  <a:gd name="T36" fmla="*/ 10 w 44"/>
                  <a:gd name="T37" fmla="*/ 67 h 67"/>
                  <a:gd name="T38" fmla="*/ 14 w 44"/>
                  <a:gd name="T39" fmla="*/ 66 h 67"/>
                  <a:gd name="T40" fmla="*/ 18 w 44"/>
                  <a:gd name="T41" fmla="*/ 64 h 67"/>
                  <a:gd name="T42" fmla="*/ 20 w 44"/>
                  <a:gd name="T43" fmla="*/ 6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4" h="67">
                    <a:moveTo>
                      <a:pt x="20" y="60"/>
                    </a:moveTo>
                    <a:cubicBezTo>
                      <a:pt x="21" y="59"/>
                      <a:pt x="22" y="57"/>
                      <a:pt x="23" y="54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15" y="57"/>
                      <a:pt x="14" y="59"/>
                      <a:pt x="13" y="59"/>
                    </a:cubicBezTo>
                    <a:cubicBezTo>
                      <a:pt x="12" y="60"/>
                      <a:pt x="10" y="60"/>
                      <a:pt x="9" y="60"/>
                    </a:cubicBezTo>
                    <a:cubicBezTo>
                      <a:pt x="8" y="60"/>
                      <a:pt x="7" y="60"/>
                      <a:pt x="6" y="60"/>
                    </a:cubicBezTo>
                    <a:cubicBezTo>
                      <a:pt x="6" y="60"/>
                      <a:pt x="5" y="60"/>
                      <a:pt x="4" y="59"/>
                    </a:cubicBezTo>
                    <a:cubicBezTo>
                      <a:pt x="4" y="66"/>
                      <a:pt x="4" y="66"/>
                      <a:pt x="4" y="66"/>
                    </a:cubicBezTo>
                    <a:cubicBezTo>
                      <a:pt x="5" y="66"/>
                      <a:pt x="6" y="67"/>
                      <a:pt x="7" y="67"/>
                    </a:cubicBezTo>
                    <a:cubicBezTo>
                      <a:pt x="8" y="67"/>
                      <a:pt x="9" y="67"/>
                      <a:pt x="10" y="67"/>
                    </a:cubicBezTo>
                    <a:cubicBezTo>
                      <a:pt x="11" y="67"/>
                      <a:pt x="13" y="67"/>
                      <a:pt x="14" y="66"/>
                    </a:cubicBezTo>
                    <a:cubicBezTo>
                      <a:pt x="15" y="66"/>
                      <a:pt x="17" y="65"/>
                      <a:pt x="18" y="64"/>
                    </a:cubicBezTo>
                    <a:cubicBezTo>
                      <a:pt x="19" y="63"/>
                      <a:pt x="20" y="62"/>
                      <a:pt x="20" y="6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pic>
          <p:nvPicPr>
            <p:cNvPr id="2056" name="Picture 2055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55096" y="522692"/>
              <a:ext cx="1932240" cy="627484"/>
            </a:xfrm>
            <a:prstGeom prst="rect">
              <a:avLst/>
            </a:prstGeom>
          </p:spPr>
        </p:pic>
        <p:sp>
          <p:nvSpPr>
            <p:cNvPr id="41" name="TextBox 40"/>
            <p:cNvSpPr txBox="1"/>
            <p:nvPr userDrawn="1"/>
          </p:nvSpPr>
          <p:spPr>
            <a:xfrm>
              <a:off x="5168422" y="239186"/>
              <a:ext cx="277706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spc="100" baseline="0" dirty="0"/>
                <a:t>A COLLABORATION OF</a:t>
              </a:r>
            </a:p>
          </p:txBody>
        </p:sp>
      </p:grpSp>
      <p:sp>
        <p:nvSpPr>
          <p:cNvPr id="2057" name="Freeform 2056"/>
          <p:cNvSpPr/>
          <p:nvPr userDrawn="1"/>
        </p:nvSpPr>
        <p:spPr>
          <a:xfrm>
            <a:off x="5568950" y="4508500"/>
            <a:ext cx="3581400" cy="635000"/>
          </a:xfrm>
          <a:custGeom>
            <a:avLst/>
            <a:gdLst>
              <a:gd name="connsiteX0" fmla="*/ 3581400 w 3581400"/>
              <a:gd name="connsiteY0" fmla="*/ 0 h 635000"/>
              <a:gd name="connsiteX1" fmla="*/ 0 w 3581400"/>
              <a:gd name="connsiteY1" fmla="*/ 635000 h 635000"/>
              <a:gd name="connsiteX2" fmla="*/ 3575050 w 3581400"/>
              <a:gd name="connsiteY2" fmla="*/ 635000 h 635000"/>
              <a:gd name="connsiteX3" fmla="*/ 3581400 w 3581400"/>
              <a:gd name="connsiteY3" fmla="*/ 0 h 63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1400" h="635000">
                <a:moveTo>
                  <a:pt x="3581400" y="0"/>
                </a:moveTo>
                <a:lnTo>
                  <a:pt x="0" y="635000"/>
                </a:lnTo>
                <a:lnTo>
                  <a:pt x="3575050" y="635000"/>
                </a:lnTo>
                <a:cubicBezTo>
                  <a:pt x="3577167" y="423333"/>
                  <a:pt x="3579283" y="211667"/>
                  <a:pt x="358140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42973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1"/>
          <p:cNvSpPr>
            <a:spLocks noGrp="1"/>
          </p:cNvSpPr>
          <p:nvPr>
            <p:ph type="title"/>
          </p:nvPr>
        </p:nvSpPr>
        <p:spPr>
          <a:xfrm>
            <a:off x="304800" y="207402"/>
            <a:ext cx="8443664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/>
            </a:lvl1pPr>
          </a:lstStyle>
          <a:p>
            <a:endParaRPr lang="en-US" noProof="0" dirty="0"/>
          </a:p>
        </p:txBody>
      </p:sp>
      <p:pic>
        <p:nvPicPr>
          <p:cNvPr id="4" name="Picture 3" descr="corner2_tiles.t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126920"/>
            <a:ext cx="1115616" cy="101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643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1"/>
          <p:cNvSpPr>
            <a:spLocks noGrp="1"/>
          </p:cNvSpPr>
          <p:nvPr>
            <p:ph type="title"/>
          </p:nvPr>
        </p:nvSpPr>
        <p:spPr>
          <a:xfrm>
            <a:off x="304800" y="207402"/>
            <a:ext cx="8443664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/>
            </a:lvl1pPr>
          </a:lstStyle>
          <a:p>
            <a:endParaRPr lang="en-US" noProof="0" dirty="0"/>
          </a:p>
        </p:txBody>
      </p:sp>
      <p:pic>
        <p:nvPicPr>
          <p:cNvPr id="5" name="Picture 4" descr="corner3_tiles.ti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9134"/>
            <a:ext cx="1115615" cy="1054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3310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1"/>
          <p:cNvSpPr>
            <a:spLocks noGrp="1"/>
          </p:cNvSpPr>
          <p:nvPr>
            <p:ph type="title"/>
          </p:nvPr>
        </p:nvSpPr>
        <p:spPr>
          <a:xfrm>
            <a:off x="304800" y="207402"/>
            <a:ext cx="8443664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/>
            </a:lvl1pPr>
          </a:lstStyle>
          <a:p>
            <a:endParaRPr lang="en-US" noProof="0" dirty="0"/>
          </a:p>
        </p:txBody>
      </p:sp>
      <p:pic>
        <p:nvPicPr>
          <p:cNvPr id="4" name="Picture 3" descr="corner4_tiles.ti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54" y="4083918"/>
            <a:ext cx="1162808" cy="105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4472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rn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 txBox="1">
            <a:spLocks/>
          </p:cNvSpPr>
          <p:nvPr/>
        </p:nvSpPr>
        <p:spPr>
          <a:xfrm>
            <a:off x="6811319" y="475487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083687-197D-9348-B551-20C567E22E4E}" type="slidenum">
              <a:rPr lang="en-US" sz="10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1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13031" y="381421"/>
            <a:ext cx="7444266" cy="377287"/>
          </a:xfrm>
        </p:spPr>
        <p:txBody>
          <a:bodyPr>
            <a:noAutofit/>
          </a:bodyPr>
          <a:lstStyle>
            <a:lvl1pPr algn="l">
              <a:defRPr sz="2000" b="1" i="0">
                <a:solidFill>
                  <a:srgbClr val="EA1D2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header</a:t>
            </a:r>
          </a:p>
        </p:txBody>
      </p:sp>
      <p:pic>
        <p:nvPicPr>
          <p:cNvPr id="5" name="Picture 4" descr="corner2_tiles.ti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055050"/>
            <a:ext cx="1194488" cy="108845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194488" y="1521054"/>
            <a:ext cx="5905500" cy="262255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94197" y="1026319"/>
            <a:ext cx="5905792" cy="494735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000" b="0" i="0" kern="1200" dirty="0" smtClean="0">
                <a:solidFill>
                  <a:srgbClr val="EA1D20"/>
                </a:solidFill>
                <a:latin typeface="Arial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4576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r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 txBox="1">
            <a:spLocks/>
          </p:cNvSpPr>
          <p:nvPr/>
        </p:nvSpPr>
        <p:spPr>
          <a:xfrm>
            <a:off x="6811319" y="475487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083687-197D-9348-B551-20C567E22E4E}" type="slidenum">
              <a:rPr lang="en-US" sz="10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1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13031" y="381421"/>
            <a:ext cx="7444266" cy="377287"/>
          </a:xfrm>
        </p:spPr>
        <p:txBody>
          <a:bodyPr>
            <a:noAutofit/>
          </a:bodyPr>
          <a:lstStyle>
            <a:lvl1pPr algn="l">
              <a:defRPr sz="2000" b="1" i="0">
                <a:solidFill>
                  <a:srgbClr val="EA1D2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header</a:t>
            </a:r>
          </a:p>
        </p:txBody>
      </p:sp>
      <p:pic>
        <p:nvPicPr>
          <p:cNvPr id="5" name="Picture 4" descr="corner3_tiles.ti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054332"/>
            <a:ext cx="1152439" cy="1089168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194488" y="1521054"/>
            <a:ext cx="5905500" cy="262255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94197" y="1026319"/>
            <a:ext cx="5905792" cy="494735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000" b="0" i="0" kern="1200" dirty="0" smtClean="0">
                <a:solidFill>
                  <a:srgbClr val="EA1D20"/>
                </a:solidFill>
                <a:latin typeface="Arial"/>
                <a:ea typeface="+mj-ea"/>
                <a:cs typeface="Arial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822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ttom R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 txBox="1">
            <a:spLocks/>
          </p:cNvSpPr>
          <p:nvPr userDrawn="1"/>
        </p:nvSpPr>
        <p:spPr>
          <a:xfrm>
            <a:off x="6811320" y="4754869"/>
            <a:ext cx="2133601" cy="273844"/>
          </a:xfrm>
          <a:prstGeom prst="rect">
            <a:avLst/>
          </a:prstGeom>
        </p:spPr>
        <p:txBody>
          <a:bodyPr vert="horz" lIns="91408" tIns="45704" rIns="91408" bIns="45704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F083687-197D-9348-B551-20C567E22E4E}" type="slidenum">
              <a:rPr lang="en-US" sz="1052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1052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13031" y="381421"/>
            <a:ext cx="7444267" cy="377287"/>
          </a:xfrm>
        </p:spPr>
        <p:txBody>
          <a:bodyPr>
            <a:noAutofit/>
          </a:bodyPr>
          <a:lstStyle>
            <a:lvl1pPr algn="l">
              <a:defRPr sz="1954" b="1" i="0">
                <a:solidFill>
                  <a:srgbClr val="EA1D20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header</a:t>
            </a:r>
            <a:endParaRPr lang="en-US" dirty="0"/>
          </a:p>
        </p:txBody>
      </p:sp>
      <p:pic>
        <p:nvPicPr>
          <p:cNvPr id="5" name="Picture 4" descr="corner2_tiles.t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055051"/>
            <a:ext cx="1194488" cy="108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949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111802442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2484597386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 (1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59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46482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211472663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 (1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2159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46482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2651382211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platzhalter 1"/>
          <p:cNvSpPr>
            <a:spLocks noGrp="1"/>
          </p:cNvSpPr>
          <p:nvPr>
            <p:ph type="title"/>
          </p:nvPr>
        </p:nvSpPr>
        <p:spPr>
          <a:xfrm>
            <a:off x="304800" y="207402"/>
            <a:ext cx="8443664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>
              <a:defRPr/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38291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 (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5900" y="1403747"/>
            <a:ext cx="8712200" cy="167044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215900" y="3188494"/>
            <a:ext cx="8712200" cy="16716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49352834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 (1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215900" y="1403747"/>
            <a:ext cx="8712200" cy="167044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215900" y="3188494"/>
            <a:ext cx="8712200" cy="16716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3233404876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5900" y="1403747"/>
            <a:ext cx="4279900" cy="345638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4648200" y="1403747"/>
            <a:ext cx="4279900" cy="345638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2989596434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, zwei Inhalte über Text (2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  <p:custDataLst>
              <p:tags r:id="rId2"/>
            </p:custDataLst>
          </p:nvPr>
        </p:nvSpPr>
        <p:spPr>
          <a:xfrm>
            <a:off x="215900" y="1403747"/>
            <a:ext cx="4279900" cy="167044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4648200" y="1403747"/>
            <a:ext cx="4279900" cy="167044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z"/>
          <p:cNvSpPr>
            <a:spLocks noGrp="1"/>
          </p:cNvSpPr>
          <p:nvPr>
            <p:ph type="body" sz="half" idx="3"/>
            <p:custDataLst>
              <p:tags r:id="rId4"/>
            </p:custDataLst>
          </p:nvPr>
        </p:nvSpPr>
        <p:spPr>
          <a:xfrm>
            <a:off x="215900" y="3188494"/>
            <a:ext cx="8712200" cy="16716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3997954808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 (1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59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/>
          <p:cNvSpPr>
            <a:spLocks noGrp="1"/>
          </p:cNvSpPr>
          <p:nvPr>
            <p:ph type="media" sz="half" idx="2"/>
            <p:custDataLst>
              <p:tags r:id="rId3"/>
            </p:custDataLst>
          </p:nvPr>
        </p:nvSpPr>
        <p:spPr>
          <a:xfrm>
            <a:off x="4648200" y="1403747"/>
            <a:ext cx="4279900" cy="3456384"/>
          </a:xfrm>
        </p:spPr>
        <p:txBody>
          <a:bodyPr/>
          <a:lstStyle/>
          <a:p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1647706956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 (1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Medienplatzhalter 2"/>
          <p:cNvSpPr>
            <a:spLocks noGrp="1"/>
          </p:cNvSpPr>
          <p:nvPr>
            <p:ph type="media" sz="half" idx="1"/>
            <p:custDataLst>
              <p:tags r:id="rId2"/>
            </p:custDataLst>
          </p:nvPr>
        </p:nvSpPr>
        <p:spPr>
          <a:xfrm>
            <a:off x="215900" y="1403747"/>
            <a:ext cx="4279900" cy="3456384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46482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1277208672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59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lipArt-Platzhalter 3"/>
          <p:cNvSpPr>
            <a:spLocks noGrp="1"/>
          </p:cNvSpPr>
          <p:nvPr>
            <p:ph type="clipArt" sz="half" idx="2"/>
            <p:custDataLst>
              <p:tags r:id="rId3"/>
            </p:custDataLst>
          </p:nvPr>
        </p:nvSpPr>
        <p:spPr>
          <a:xfrm>
            <a:off x="4648200" y="1403747"/>
            <a:ext cx="4279900" cy="3456384"/>
          </a:xfrm>
        </p:spPr>
        <p:txBody>
          <a:bodyPr/>
          <a:lstStyle/>
          <a:p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4113249825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 (1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ClipArt-Platzhalter 2"/>
          <p:cNvSpPr>
            <a:spLocks noGrp="1"/>
          </p:cNvSpPr>
          <p:nvPr>
            <p:ph type="clipArt" sz="half" idx="1"/>
            <p:custDataLst>
              <p:tags r:id="rId2"/>
            </p:custDataLst>
          </p:nvPr>
        </p:nvSpPr>
        <p:spPr>
          <a:xfrm>
            <a:off x="215900" y="1403747"/>
            <a:ext cx="4279900" cy="3456384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46482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2952441551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 (2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59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4648200" y="1403747"/>
            <a:ext cx="4279900" cy="167044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  <p:custDataLst>
              <p:tags r:id="rId4"/>
            </p:custDataLst>
          </p:nvPr>
        </p:nvSpPr>
        <p:spPr>
          <a:xfrm>
            <a:off x="4648200" y="3188494"/>
            <a:ext cx="4279900" cy="16716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1514983053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 (2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  <p:custDataLst>
              <p:tags r:id="rId2"/>
            </p:custDataLst>
          </p:nvPr>
        </p:nvSpPr>
        <p:spPr>
          <a:xfrm>
            <a:off x="215900" y="1403747"/>
            <a:ext cx="4279900" cy="167044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215900" y="3188494"/>
            <a:ext cx="4279900" cy="16716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z"/>
          <p:cNvSpPr>
            <a:spLocks noGrp="1"/>
          </p:cNvSpPr>
          <p:nvPr>
            <p:ph type="body" sz="half" idx="3"/>
            <p:custDataLst>
              <p:tags r:id="rId4"/>
            </p:custDataLst>
          </p:nvPr>
        </p:nvSpPr>
        <p:spPr>
          <a:xfrm>
            <a:off x="46482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2814377008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690694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3845857041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(1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2685091248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 (2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 sz="quarter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  <p:custDataLst>
              <p:tags r:id="rId2"/>
            </p:custDataLst>
          </p:nvPr>
        </p:nvSpPr>
        <p:spPr>
          <a:xfrm>
            <a:off x="215900" y="1403747"/>
            <a:ext cx="4279900" cy="167044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4648200" y="1403747"/>
            <a:ext cx="4279900" cy="167044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  <p:custDataLst>
              <p:tags r:id="rId4"/>
            </p:custDataLst>
          </p:nvPr>
        </p:nvSpPr>
        <p:spPr>
          <a:xfrm>
            <a:off x="215900" y="3188494"/>
            <a:ext cx="4279900" cy="16716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4648200" y="3188494"/>
            <a:ext cx="4279900" cy="16716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SeitePlaz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ssPlaz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DatumPlaz"/>
          <p:cNvSpPr>
            <a:spLocks noGrp="1"/>
          </p:cNvSpPr>
          <p:nvPr>
            <p:ph type="dt" sz="half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1237380766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 (1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  <p:custDataLst>
              <p:tags r:id="rId1"/>
            </p:custDataLst>
          </p:nvPr>
        </p:nvSpPr>
        <p:spPr>
          <a:xfrm>
            <a:off x="215900" y="481013"/>
            <a:ext cx="8712200" cy="437911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51543978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  <p:custDataLst>
              <p:tags r:id="rId2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1162227712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 (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SmartArt-Platzhalter 2"/>
          <p:cNvSpPr>
            <a:spLocks noGrp="1"/>
          </p:cNvSpPr>
          <p:nvPr>
            <p:ph type="dgm" idx="1"/>
            <p:custDataLst>
              <p:tags r:id="rId2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3504216268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  <p:custDataLst>
              <p:tags r:id="rId2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3662897472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  <p:custDataLst>
              <p:tags r:id="rId2"/>
            </p:custDataLst>
          </p:nvPr>
        </p:nvSpPr>
        <p:spPr>
          <a:xfrm>
            <a:off x="2159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  <p:custDataLst>
              <p:tags r:id="rId3"/>
            </p:custDataLst>
          </p:nvPr>
        </p:nvSpPr>
        <p:spPr>
          <a:xfrm>
            <a:off x="4648200" y="1403747"/>
            <a:ext cx="4279900" cy="3456384"/>
          </a:xfrm>
        </p:spPr>
        <p:txBody>
          <a:bodyPr/>
          <a:lstStyle/>
          <a:p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1977059223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iagrammplatzhalter 2"/>
          <p:cNvSpPr>
            <a:spLocks noGrp="1"/>
          </p:cNvSpPr>
          <p:nvPr>
            <p:ph type="chart" sz="half" idx="1"/>
            <p:custDataLst>
              <p:tags r:id="rId2"/>
            </p:custDataLst>
          </p:nvPr>
        </p:nvSpPr>
        <p:spPr>
          <a:xfrm>
            <a:off x="215900" y="1403747"/>
            <a:ext cx="4279900" cy="3456384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4648200" y="1403747"/>
            <a:ext cx="4279900" cy="34563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4022604347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ctrTitle"/>
          </p:nvPr>
        </p:nvSpPr>
        <p:spPr>
          <a:xfrm>
            <a:off x="2160000" y="3672000"/>
            <a:ext cx="6732000" cy="715500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3000" b="1" i="0">
                <a:latin typeface="Arial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subTitle" idx="1"/>
          </p:nvPr>
        </p:nvSpPr>
        <p:spPr>
          <a:xfrm>
            <a:off x="2160000" y="4387500"/>
            <a:ext cx="6732000" cy="324000"/>
          </a:xfr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buNone/>
              <a:defRPr sz="20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2"/>
          </p:nvPr>
        </p:nvSpPr>
        <p:spPr>
          <a:xfrm>
            <a:off x="8208000" y="4984200"/>
            <a:ext cx="720000" cy="113400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latin typeface="Arial"/>
              </a:defRPr>
            </a:lvl1pPr>
          </a:lstStyle>
          <a:p>
            <a:fld id="{84111605-78AC-4B7F-B1C7-A27E3214896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</p:nvPr>
        </p:nvSpPr>
        <p:spPr>
          <a:xfrm>
            <a:off x="2880000" y="5038200"/>
            <a:ext cx="5400000" cy="72900"/>
          </a:xfrm>
        </p:spPr>
        <p:txBody>
          <a:bodyPr lIns="0" tIns="0" rIns="0" bIns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10"/>
          </p:nvPr>
        </p:nvSpPr>
        <p:spPr>
          <a:xfrm>
            <a:off x="2160000" y="4984200"/>
            <a:ext cx="720000" cy="113400"/>
          </a:xfrm>
        </p:spPr>
        <p:txBody>
          <a:bodyPr lIns="0" tIns="0" rIns="0" bIns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latin typeface="Arial"/>
              </a:defRPr>
            </a:lvl1pPr>
          </a:lstStyle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3231283217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ection_tiles2.t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8098"/>
            <a:ext cx="6554042" cy="2746714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5028" y="1023145"/>
            <a:ext cx="5704703" cy="715641"/>
          </a:xfrm>
        </p:spPr>
        <p:txBody>
          <a:bodyPr anchor="ctr">
            <a:noAutofit/>
          </a:bodyPr>
          <a:lstStyle>
            <a:lvl1pPr algn="ctr">
              <a:defRPr sz="3156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header</a:t>
            </a:r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6759325" y="3918883"/>
            <a:ext cx="1940161" cy="939351"/>
            <a:chOff x="608220" y="3663903"/>
            <a:chExt cx="2515980" cy="1218140"/>
          </a:xfrm>
        </p:grpSpPr>
        <p:pic>
          <p:nvPicPr>
            <p:cNvPr id="12" name="Picture 11" descr="Sun_DIC_Lockup.png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8220" y="3663903"/>
              <a:ext cx="2515980" cy="718991"/>
            </a:xfrm>
            <a:prstGeom prst="rect">
              <a:avLst/>
            </a:prstGeom>
          </p:spPr>
        </p:pic>
        <p:pic>
          <p:nvPicPr>
            <p:cNvPr id="13" name="Picture 12" descr="working_line.png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8220" y="4639494"/>
              <a:ext cx="2458221" cy="2425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9249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ctrTitle"/>
          </p:nvPr>
        </p:nvSpPr>
        <p:spPr>
          <a:xfrm>
            <a:off x="2160000" y="3672000"/>
            <a:ext cx="6732000" cy="715500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3000" b="1" i="0">
                <a:latin typeface="Arial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subTitle" idx="1"/>
          </p:nvPr>
        </p:nvSpPr>
        <p:spPr>
          <a:xfrm>
            <a:off x="2160000" y="4387500"/>
            <a:ext cx="6732000" cy="324000"/>
          </a:xfr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buNone/>
              <a:defRPr sz="2000"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2"/>
          </p:nvPr>
        </p:nvSpPr>
        <p:spPr>
          <a:xfrm>
            <a:off x="8208000" y="4984200"/>
            <a:ext cx="720000" cy="113400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latin typeface="Arial"/>
              </a:defRPr>
            </a:lvl1pPr>
          </a:lstStyle>
          <a:p>
            <a:fld id="{84111605-78AC-4B7F-B1C7-A27E3214896B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</p:nvPr>
        </p:nvSpPr>
        <p:spPr>
          <a:xfrm>
            <a:off x="2880000" y="5038200"/>
            <a:ext cx="5400000" cy="72900"/>
          </a:xfrm>
        </p:spPr>
        <p:txBody>
          <a:bodyPr lIns="0" tIns="0" rIns="0" bIns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10"/>
          </p:nvPr>
        </p:nvSpPr>
        <p:spPr>
          <a:xfrm>
            <a:off x="2160000" y="4984200"/>
            <a:ext cx="720000" cy="113400"/>
          </a:xfrm>
        </p:spPr>
        <p:txBody>
          <a:bodyPr lIns="0" tIns="0" rIns="0" bIns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latin typeface="Arial"/>
              </a:defRPr>
            </a:lvl1pPr>
          </a:lstStyle>
          <a:p>
            <a:r>
              <a:rPr lang="de-DE"/>
              <a:t>12.05.2016</a:t>
            </a:r>
          </a:p>
        </p:txBody>
      </p:sp>
    </p:spTree>
    <p:extLst>
      <p:ext uri="{BB962C8B-B14F-4D97-AF65-F5344CB8AC3E}">
        <p14:creationId xmlns:p14="http://schemas.microsoft.com/office/powerpoint/2010/main" val="791034263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8220" y="618119"/>
            <a:ext cx="7444266" cy="715641"/>
          </a:xfrm>
        </p:spPr>
        <p:txBody>
          <a:bodyPr>
            <a:noAutofit/>
          </a:bodyPr>
          <a:lstStyle>
            <a:lvl1pPr algn="l">
              <a:defRPr sz="3000" b="1" i="0">
                <a:solidFill>
                  <a:srgbClr val="EA1D2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head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545" y="1371600"/>
            <a:ext cx="7444266" cy="515337"/>
          </a:xfrm>
        </p:spPr>
        <p:txBody>
          <a:bodyPr>
            <a:normAutofit/>
          </a:bodyPr>
          <a:lstStyle>
            <a:lvl1pPr marL="0" indent="0" algn="l">
              <a:buNone/>
              <a:defRPr sz="12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r>
              <a:rPr lang="en-US" dirty="0" err="1"/>
              <a:t>subheader</a:t>
            </a:r>
            <a:endParaRPr lang="en-US" dirty="0"/>
          </a:p>
        </p:txBody>
      </p:sp>
      <p:sp>
        <p:nvSpPr>
          <p:cNvPr id="23" name="Subtitle 2"/>
          <p:cNvSpPr txBox="1">
            <a:spLocks/>
          </p:cNvSpPr>
          <p:nvPr/>
        </p:nvSpPr>
        <p:spPr>
          <a:xfrm>
            <a:off x="642545" y="2510387"/>
            <a:ext cx="1732698" cy="36599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0" i="0" kern="1200" baseline="0">
                <a:solidFill>
                  <a:schemeClr val="tx1">
                    <a:tint val="75000"/>
                  </a:schemeClr>
                </a:solidFill>
                <a:latin typeface="Century Gothic"/>
                <a:ea typeface="+mn-ea"/>
                <a:cs typeface="Century Gothic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fld id="{D5055120-D0A7-4E42-B422-A63CF8D0B5BC}" type="datetime3">
              <a:rPr lang="en-US" sz="750" b="0" i="0" smtClean="0">
                <a:solidFill>
                  <a:schemeClr val="tx1"/>
                </a:solidFill>
                <a:latin typeface="Arial"/>
                <a:cs typeface="Arial"/>
              </a:rPr>
              <a:t>9 November 2016</a:t>
            </a:fld>
            <a:endParaRPr lang="en-US" sz="750" b="0" i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4" name="Picture 3" descr="corner1_tiles.ti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094225"/>
            <a:ext cx="3398108" cy="2062147"/>
          </a:xfrm>
          <a:prstGeom prst="rect">
            <a:avLst/>
          </a:prstGeom>
        </p:spPr>
      </p:pic>
      <p:pic>
        <p:nvPicPr>
          <p:cNvPr id="5" name="Picture 4" descr="corner2_tiles.t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052486" y="-1"/>
            <a:ext cx="1091514" cy="994617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6343650" y="3829050"/>
            <a:ext cx="2343152" cy="1028701"/>
            <a:chOff x="6457468" y="3835172"/>
            <a:chExt cx="2229333" cy="1191937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6524111" y="3886746"/>
              <a:ext cx="2162690" cy="1140363"/>
              <a:chOff x="608220" y="3663903"/>
              <a:chExt cx="2515980" cy="1218140"/>
            </a:xfrm>
          </p:grpSpPr>
          <p:pic>
            <p:nvPicPr>
              <p:cNvPr id="17" name="Picture 16" descr="Sun_DIC_Lockup.png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8220" y="3663903"/>
                <a:ext cx="2515980" cy="718991"/>
              </a:xfrm>
              <a:prstGeom prst="rect">
                <a:avLst/>
              </a:prstGeom>
            </p:spPr>
          </p:pic>
          <p:pic>
            <p:nvPicPr>
              <p:cNvPr id="18" name="Picture 17" descr="working_line.pn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8220" y="4639494"/>
                <a:ext cx="2458221" cy="242549"/>
              </a:xfrm>
              <a:prstGeom prst="rect">
                <a:avLst/>
              </a:prstGeom>
            </p:spPr>
          </p:pic>
        </p:grpSp>
        <p:pic>
          <p:nvPicPr>
            <p:cNvPr id="19" name="Picture 18" descr="SunChemical_logo_Dec15_RGB_sm.jpg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7468" y="3835172"/>
              <a:ext cx="2229333" cy="7755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8563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uzzle4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230" y="855858"/>
            <a:ext cx="6297947" cy="3732889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473343" y="855857"/>
            <a:ext cx="1919199" cy="813507"/>
          </a:xfrm>
        </p:spPr>
        <p:txBody>
          <a:bodyPr anchor="ctr">
            <a:noAutofit/>
          </a:bodyPr>
          <a:lstStyle>
            <a:lvl1pPr algn="ctr">
              <a:defRPr sz="15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2563976" y="1572241"/>
            <a:ext cx="2653728" cy="13981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364228" y="2803812"/>
            <a:ext cx="2553713" cy="77717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111109" y="1221465"/>
            <a:ext cx="2657066" cy="8608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725998" y="3457505"/>
            <a:ext cx="3385113" cy="112640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313035" y="385340"/>
            <a:ext cx="5516029" cy="387248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EA1D2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header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6343650" y="3829050"/>
            <a:ext cx="2343152" cy="1028701"/>
            <a:chOff x="6457468" y="3835172"/>
            <a:chExt cx="2229333" cy="1191937"/>
          </a:xfrm>
        </p:grpSpPr>
        <p:grpSp>
          <p:nvGrpSpPr>
            <p:cNvPr id="16" name="Group 15"/>
            <p:cNvGrpSpPr/>
            <p:nvPr userDrawn="1"/>
          </p:nvGrpSpPr>
          <p:grpSpPr>
            <a:xfrm>
              <a:off x="6524111" y="3886746"/>
              <a:ext cx="2162690" cy="1140363"/>
              <a:chOff x="608220" y="3663903"/>
              <a:chExt cx="2515980" cy="1218140"/>
            </a:xfrm>
          </p:grpSpPr>
          <p:pic>
            <p:nvPicPr>
              <p:cNvPr id="25" name="Picture 24" descr="Sun_DIC_Lockup.png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8220" y="3663903"/>
                <a:ext cx="2515980" cy="718991"/>
              </a:xfrm>
              <a:prstGeom prst="rect">
                <a:avLst/>
              </a:prstGeom>
            </p:spPr>
          </p:pic>
          <p:pic>
            <p:nvPicPr>
              <p:cNvPr id="26" name="Picture 25" descr="working_line.png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8220" y="4639494"/>
                <a:ext cx="2458221" cy="242549"/>
              </a:xfrm>
              <a:prstGeom prst="rect">
                <a:avLst/>
              </a:prstGeom>
            </p:spPr>
          </p:pic>
        </p:grpSp>
        <p:pic>
          <p:nvPicPr>
            <p:cNvPr id="18" name="Picture 17" descr="SunChemical_logo_Dec15_RGB_sm.jpg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7468" y="3835172"/>
              <a:ext cx="2229333" cy="7755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1400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ection_tiles2.ti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768099"/>
            <a:ext cx="6554042" cy="2746715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5031" y="1023145"/>
            <a:ext cx="5704703" cy="715641"/>
          </a:xfrm>
        </p:spPr>
        <p:txBody>
          <a:bodyPr anchor="ctr">
            <a:noAutofit/>
          </a:bodyPr>
          <a:lstStyle>
            <a:lvl1pPr algn="ctr">
              <a:defRPr sz="24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322320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ection_tiles3.ti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768099"/>
            <a:ext cx="6554043" cy="2746715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5031" y="1023145"/>
            <a:ext cx="5704703" cy="715641"/>
          </a:xfrm>
        </p:spPr>
        <p:txBody>
          <a:bodyPr anchor="ctr">
            <a:noAutofit/>
          </a:bodyPr>
          <a:lstStyle>
            <a:lvl1pPr algn="ctr">
              <a:defRPr sz="24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3279633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ection_tiles_2.ti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768099"/>
            <a:ext cx="6554040" cy="2746714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05031" y="1023145"/>
            <a:ext cx="5704703" cy="715641"/>
          </a:xfrm>
        </p:spPr>
        <p:txBody>
          <a:bodyPr anchor="ctr">
            <a:noAutofit/>
          </a:bodyPr>
          <a:lstStyle>
            <a:lvl1pPr algn="ctr"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179961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tags" Target="../tags/tag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heme" Target="../theme/theme3.xml"/><Relationship Id="rId33" Type="http://schemas.openxmlformats.org/officeDocument/2006/relationships/tags" Target="../tags/tag8.xml"/><Relationship Id="rId38" Type="http://schemas.openxmlformats.org/officeDocument/2006/relationships/image" Target="../media/image22.png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tags" Target="../tags/tag7.xml"/><Relationship Id="rId37" Type="http://schemas.openxmlformats.org/officeDocument/2006/relationships/image" Target="../media/image21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tags" Target="../tags/tag3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tags" Target="../tags/tag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tags" Target="../tags/tag151.xml"/><Relationship Id="rId3" Type="http://schemas.openxmlformats.org/officeDocument/2006/relationships/vmlDrawing" Target="../drawings/vmlDrawing2.v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image" Target="../media/image25.png"/><Relationship Id="rId2" Type="http://schemas.openxmlformats.org/officeDocument/2006/relationships/theme" Target="../theme/theme4.xml"/><Relationship Id="rId16" Type="http://schemas.openxmlformats.org/officeDocument/2006/relationships/image" Target="../media/image23.emf"/><Relationship Id="rId1" Type="http://schemas.openxmlformats.org/officeDocument/2006/relationships/slideLayout" Target="../slideLayouts/slideLayout40.x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148.xml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image" Target="../media/image2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2" descr="O:\SUN\Jobs\SUN-16-334 Support BASF Event\PM\PNG\SUN-16-334 BASF event-TTL-blanco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76" t="4656" r="24107" b="90948"/>
          <a:stretch/>
        </p:blipFill>
        <p:spPr bwMode="auto">
          <a:xfrm>
            <a:off x="179512" y="4441648"/>
            <a:ext cx="1089694" cy="131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251520" y="699542"/>
            <a:ext cx="8640960" cy="3672408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4800" y="207402"/>
            <a:ext cx="8443664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endParaRPr lang="en-US" noProof="0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09823" y="3668936"/>
            <a:ext cx="2786113" cy="1572904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1537472" y="4546661"/>
            <a:ext cx="853307" cy="428626"/>
            <a:chOff x="2386681" y="4383230"/>
            <a:chExt cx="1508034" cy="757503"/>
          </a:xfrm>
        </p:grpSpPr>
        <p:sp>
          <p:nvSpPr>
            <p:cNvPr id="11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386681" y="4384498"/>
              <a:ext cx="1506766" cy="75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2387949" y="4383230"/>
              <a:ext cx="1506766" cy="756235"/>
            </a:xfrm>
            <a:prstGeom prst="rect">
              <a:avLst/>
            </a:prstGeom>
            <a:solidFill>
              <a:srgbClr val="014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6"/>
            <p:cNvSpPr>
              <a:spLocks noChangeArrowheads="1"/>
            </p:cNvSpPr>
            <p:nvPr userDrawn="1"/>
          </p:nvSpPr>
          <p:spPr bwMode="auto">
            <a:xfrm>
              <a:off x="2387949" y="4383230"/>
              <a:ext cx="1506766" cy="75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2576849" y="4571497"/>
              <a:ext cx="201578" cy="203480"/>
            </a:xfrm>
            <a:custGeom>
              <a:avLst/>
              <a:gdLst>
                <a:gd name="T0" fmla="*/ 98 w 318"/>
                <a:gd name="T1" fmla="*/ 223 h 321"/>
                <a:gd name="T2" fmla="*/ 98 w 318"/>
                <a:gd name="T3" fmla="*/ 98 h 321"/>
                <a:gd name="T4" fmla="*/ 220 w 318"/>
                <a:gd name="T5" fmla="*/ 98 h 321"/>
                <a:gd name="T6" fmla="*/ 220 w 318"/>
                <a:gd name="T7" fmla="*/ 223 h 321"/>
                <a:gd name="T8" fmla="*/ 98 w 318"/>
                <a:gd name="T9" fmla="*/ 223 h 321"/>
                <a:gd name="T10" fmla="*/ 318 w 318"/>
                <a:gd name="T11" fmla="*/ 0 h 321"/>
                <a:gd name="T12" fmla="*/ 0 w 318"/>
                <a:gd name="T13" fmla="*/ 0 h 321"/>
                <a:gd name="T14" fmla="*/ 0 w 318"/>
                <a:gd name="T15" fmla="*/ 321 h 321"/>
                <a:gd name="T16" fmla="*/ 318 w 318"/>
                <a:gd name="T17" fmla="*/ 321 h 321"/>
                <a:gd name="T18" fmla="*/ 318 w 318"/>
                <a:gd name="T1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8" h="321">
                  <a:moveTo>
                    <a:pt x="98" y="223"/>
                  </a:moveTo>
                  <a:lnTo>
                    <a:pt x="98" y="98"/>
                  </a:lnTo>
                  <a:lnTo>
                    <a:pt x="220" y="98"/>
                  </a:lnTo>
                  <a:lnTo>
                    <a:pt x="220" y="223"/>
                  </a:lnTo>
                  <a:lnTo>
                    <a:pt x="98" y="223"/>
                  </a:lnTo>
                  <a:close/>
                  <a:moveTo>
                    <a:pt x="318" y="0"/>
                  </a:moveTo>
                  <a:lnTo>
                    <a:pt x="0" y="0"/>
                  </a:lnTo>
                  <a:lnTo>
                    <a:pt x="0" y="321"/>
                  </a:lnTo>
                  <a:lnTo>
                    <a:pt x="318" y="321"/>
                  </a:lnTo>
                  <a:lnTo>
                    <a:pt x="318" y="0"/>
                  </a:lnTo>
                  <a:close/>
                </a:path>
              </a:pathLst>
            </a:custGeom>
            <a:solidFill>
              <a:srgbClr val="9FA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2576849" y="4571497"/>
              <a:ext cx="201578" cy="203480"/>
            </a:xfrm>
            <a:custGeom>
              <a:avLst/>
              <a:gdLst>
                <a:gd name="T0" fmla="*/ 98 w 318"/>
                <a:gd name="T1" fmla="*/ 223 h 321"/>
                <a:gd name="T2" fmla="*/ 98 w 318"/>
                <a:gd name="T3" fmla="*/ 98 h 321"/>
                <a:gd name="T4" fmla="*/ 220 w 318"/>
                <a:gd name="T5" fmla="*/ 98 h 321"/>
                <a:gd name="T6" fmla="*/ 220 w 318"/>
                <a:gd name="T7" fmla="*/ 223 h 321"/>
                <a:gd name="T8" fmla="*/ 98 w 318"/>
                <a:gd name="T9" fmla="*/ 223 h 321"/>
                <a:gd name="T10" fmla="*/ 318 w 318"/>
                <a:gd name="T11" fmla="*/ 0 h 321"/>
                <a:gd name="T12" fmla="*/ 0 w 318"/>
                <a:gd name="T13" fmla="*/ 0 h 321"/>
                <a:gd name="T14" fmla="*/ 0 w 318"/>
                <a:gd name="T15" fmla="*/ 321 h 321"/>
                <a:gd name="T16" fmla="*/ 318 w 318"/>
                <a:gd name="T17" fmla="*/ 321 h 321"/>
                <a:gd name="T18" fmla="*/ 318 w 318"/>
                <a:gd name="T1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8" h="321">
                  <a:moveTo>
                    <a:pt x="98" y="223"/>
                  </a:moveTo>
                  <a:lnTo>
                    <a:pt x="98" y="98"/>
                  </a:lnTo>
                  <a:lnTo>
                    <a:pt x="220" y="98"/>
                  </a:lnTo>
                  <a:lnTo>
                    <a:pt x="220" y="223"/>
                  </a:lnTo>
                  <a:lnTo>
                    <a:pt x="98" y="223"/>
                  </a:lnTo>
                  <a:moveTo>
                    <a:pt x="318" y="0"/>
                  </a:moveTo>
                  <a:lnTo>
                    <a:pt x="0" y="0"/>
                  </a:lnTo>
                  <a:lnTo>
                    <a:pt x="0" y="321"/>
                  </a:lnTo>
                  <a:lnTo>
                    <a:pt x="318" y="321"/>
                  </a:lnTo>
                  <a:lnTo>
                    <a:pt x="31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Rectangle 9"/>
            <p:cNvSpPr>
              <a:spLocks noChangeArrowheads="1"/>
            </p:cNvSpPr>
            <p:nvPr userDrawn="1"/>
          </p:nvSpPr>
          <p:spPr bwMode="auto">
            <a:xfrm>
              <a:off x="2841183" y="4633618"/>
              <a:ext cx="76701" cy="79237"/>
            </a:xfrm>
            <a:prstGeom prst="rect">
              <a:avLst/>
            </a:prstGeom>
            <a:solidFill>
              <a:srgbClr val="9FA7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Rectangle 10"/>
            <p:cNvSpPr>
              <a:spLocks noChangeArrowheads="1"/>
            </p:cNvSpPr>
            <p:nvPr userDrawn="1"/>
          </p:nvSpPr>
          <p:spPr bwMode="auto">
            <a:xfrm>
              <a:off x="2841183" y="4633618"/>
              <a:ext cx="76701" cy="79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2980640" y="4571497"/>
              <a:ext cx="184463" cy="203480"/>
            </a:xfrm>
            <a:custGeom>
              <a:avLst/>
              <a:gdLst>
                <a:gd name="T0" fmla="*/ 0 w 139"/>
                <a:gd name="T1" fmla="*/ 0 h 153"/>
                <a:gd name="T2" fmla="*/ 85 w 139"/>
                <a:gd name="T3" fmla="*/ 0 h 153"/>
                <a:gd name="T4" fmla="*/ 131 w 139"/>
                <a:gd name="T5" fmla="*/ 40 h 153"/>
                <a:gd name="T6" fmla="*/ 111 w 139"/>
                <a:gd name="T7" fmla="*/ 71 h 153"/>
                <a:gd name="T8" fmla="*/ 139 w 139"/>
                <a:gd name="T9" fmla="*/ 108 h 153"/>
                <a:gd name="T10" fmla="*/ 85 w 139"/>
                <a:gd name="T11" fmla="*/ 153 h 153"/>
                <a:gd name="T12" fmla="*/ 0 w 139"/>
                <a:gd name="T13" fmla="*/ 153 h 153"/>
                <a:gd name="T14" fmla="*/ 0 w 139"/>
                <a:gd name="T15" fmla="*/ 0 h 153"/>
                <a:gd name="T16" fmla="*/ 47 w 139"/>
                <a:gd name="T17" fmla="*/ 118 h 153"/>
                <a:gd name="T18" fmla="*/ 77 w 139"/>
                <a:gd name="T19" fmla="*/ 118 h 153"/>
                <a:gd name="T20" fmla="*/ 93 w 139"/>
                <a:gd name="T21" fmla="*/ 104 h 153"/>
                <a:gd name="T22" fmla="*/ 79 w 139"/>
                <a:gd name="T23" fmla="*/ 91 h 153"/>
                <a:gd name="T24" fmla="*/ 47 w 139"/>
                <a:gd name="T25" fmla="*/ 91 h 153"/>
                <a:gd name="T26" fmla="*/ 47 w 139"/>
                <a:gd name="T27" fmla="*/ 118 h 153"/>
                <a:gd name="T28" fmla="*/ 47 w 139"/>
                <a:gd name="T29" fmla="*/ 60 h 153"/>
                <a:gd name="T30" fmla="*/ 71 w 139"/>
                <a:gd name="T31" fmla="*/ 60 h 153"/>
                <a:gd name="T32" fmla="*/ 87 w 139"/>
                <a:gd name="T33" fmla="*/ 47 h 153"/>
                <a:gd name="T34" fmla="*/ 75 w 139"/>
                <a:gd name="T35" fmla="*/ 36 h 153"/>
                <a:gd name="T36" fmla="*/ 47 w 139"/>
                <a:gd name="T37" fmla="*/ 36 h 153"/>
                <a:gd name="T38" fmla="*/ 47 w 139"/>
                <a:gd name="T39" fmla="*/ 6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9" h="153">
                  <a:moveTo>
                    <a:pt x="0" y="0"/>
                  </a:moveTo>
                  <a:cubicBezTo>
                    <a:pt x="0" y="0"/>
                    <a:pt x="71" y="0"/>
                    <a:pt x="85" y="0"/>
                  </a:cubicBezTo>
                  <a:cubicBezTo>
                    <a:pt x="116" y="0"/>
                    <a:pt x="131" y="21"/>
                    <a:pt x="131" y="40"/>
                  </a:cubicBezTo>
                  <a:cubicBezTo>
                    <a:pt x="131" y="54"/>
                    <a:pt x="125" y="63"/>
                    <a:pt x="111" y="71"/>
                  </a:cubicBezTo>
                  <a:cubicBezTo>
                    <a:pt x="129" y="77"/>
                    <a:pt x="139" y="89"/>
                    <a:pt x="139" y="108"/>
                  </a:cubicBezTo>
                  <a:cubicBezTo>
                    <a:pt x="139" y="129"/>
                    <a:pt x="123" y="153"/>
                    <a:pt x="85" y="153"/>
                  </a:cubicBezTo>
                  <a:cubicBezTo>
                    <a:pt x="65" y="153"/>
                    <a:pt x="0" y="153"/>
                    <a:pt x="0" y="153"/>
                  </a:cubicBezTo>
                  <a:lnTo>
                    <a:pt x="0" y="0"/>
                  </a:lnTo>
                  <a:close/>
                  <a:moveTo>
                    <a:pt x="47" y="118"/>
                  </a:moveTo>
                  <a:cubicBezTo>
                    <a:pt x="47" y="118"/>
                    <a:pt x="66" y="118"/>
                    <a:pt x="77" y="118"/>
                  </a:cubicBezTo>
                  <a:cubicBezTo>
                    <a:pt x="88" y="118"/>
                    <a:pt x="93" y="110"/>
                    <a:pt x="93" y="104"/>
                  </a:cubicBezTo>
                  <a:cubicBezTo>
                    <a:pt x="93" y="107"/>
                    <a:pt x="95" y="91"/>
                    <a:pt x="79" y="91"/>
                  </a:cubicBezTo>
                  <a:cubicBezTo>
                    <a:pt x="71" y="91"/>
                    <a:pt x="47" y="91"/>
                    <a:pt x="47" y="91"/>
                  </a:cubicBezTo>
                  <a:lnTo>
                    <a:pt x="47" y="118"/>
                  </a:lnTo>
                  <a:close/>
                  <a:moveTo>
                    <a:pt x="47" y="60"/>
                  </a:moveTo>
                  <a:cubicBezTo>
                    <a:pt x="47" y="60"/>
                    <a:pt x="61" y="60"/>
                    <a:pt x="71" y="60"/>
                  </a:cubicBezTo>
                  <a:cubicBezTo>
                    <a:pt x="83" y="60"/>
                    <a:pt x="87" y="55"/>
                    <a:pt x="87" y="47"/>
                  </a:cubicBezTo>
                  <a:cubicBezTo>
                    <a:pt x="87" y="46"/>
                    <a:pt x="87" y="36"/>
                    <a:pt x="75" y="36"/>
                  </a:cubicBezTo>
                  <a:cubicBezTo>
                    <a:pt x="80" y="36"/>
                    <a:pt x="47" y="36"/>
                    <a:pt x="47" y="36"/>
                  </a:cubicBezTo>
                  <a:lnTo>
                    <a:pt x="47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3154327" y="4571497"/>
              <a:ext cx="214256" cy="202212"/>
            </a:xfrm>
            <a:custGeom>
              <a:avLst/>
              <a:gdLst>
                <a:gd name="T0" fmla="*/ 118 w 338"/>
                <a:gd name="T1" fmla="*/ 0 h 319"/>
                <a:gd name="T2" fmla="*/ 221 w 338"/>
                <a:gd name="T3" fmla="*/ 0 h 319"/>
                <a:gd name="T4" fmla="*/ 338 w 338"/>
                <a:gd name="T5" fmla="*/ 319 h 319"/>
                <a:gd name="T6" fmla="*/ 233 w 338"/>
                <a:gd name="T7" fmla="*/ 319 h 319"/>
                <a:gd name="T8" fmla="*/ 216 w 338"/>
                <a:gd name="T9" fmla="*/ 273 h 319"/>
                <a:gd name="T10" fmla="*/ 118 w 338"/>
                <a:gd name="T11" fmla="*/ 273 h 319"/>
                <a:gd name="T12" fmla="*/ 105 w 338"/>
                <a:gd name="T13" fmla="*/ 319 h 319"/>
                <a:gd name="T14" fmla="*/ 0 w 338"/>
                <a:gd name="T15" fmla="*/ 319 h 319"/>
                <a:gd name="T16" fmla="*/ 118 w 338"/>
                <a:gd name="T17" fmla="*/ 0 h 319"/>
                <a:gd name="T18" fmla="*/ 164 w 338"/>
                <a:gd name="T19" fmla="*/ 94 h 319"/>
                <a:gd name="T20" fmla="*/ 139 w 338"/>
                <a:gd name="T21" fmla="*/ 201 h 319"/>
                <a:gd name="T22" fmla="*/ 195 w 338"/>
                <a:gd name="T23" fmla="*/ 201 h 319"/>
                <a:gd name="T24" fmla="*/ 164 w 338"/>
                <a:gd name="T25" fmla="*/ 94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8" h="319">
                  <a:moveTo>
                    <a:pt x="118" y="0"/>
                  </a:moveTo>
                  <a:lnTo>
                    <a:pt x="221" y="0"/>
                  </a:lnTo>
                  <a:lnTo>
                    <a:pt x="338" y="319"/>
                  </a:lnTo>
                  <a:lnTo>
                    <a:pt x="233" y="319"/>
                  </a:lnTo>
                  <a:lnTo>
                    <a:pt x="216" y="273"/>
                  </a:lnTo>
                  <a:lnTo>
                    <a:pt x="118" y="273"/>
                  </a:lnTo>
                  <a:lnTo>
                    <a:pt x="105" y="319"/>
                  </a:lnTo>
                  <a:lnTo>
                    <a:pt x="0" y="319"/>
                  </a:lnTo>
                  <a:lnTo>
                    <a:pt x="118" y="0"/>
                  </a:lnTo>
                  <a:close/>
                  <a:moveTo>
                    <a:pt x="164" y="94"/>
                  </a:moveTo>
                  <a:lnTo>
                    <a:pt x="139" y="201"/>
                  </a:lnTo>
                  <a:lnTo>
                    <a:pt x="195" y="201"/>
                  </a:lnTo>
                  <a:lnTo>
                    <a:pt x="164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3355271" y="4565791"/>
              <a:ext cx="184463" cy="214890"/>
            </a:xfrm>
            <a:custGeom>
              <a:avLst/>
              <a:gdLst>
                <a:gd name="T0" fmla="*/ 88 w 139"/>
                <a:gd name="T1" fmla="*/ 50 h 161"/>
                <a:gd name="T2" fmla="*/ 135 w 139"/>
                <a:gd name="T3" fmla="*/ 50 h 161"/>
                <a:gd name="T4" fmla="*/ 69 w 139"/>
                <a:gd name="T5" fmla="*/ 0 h 161"/>
                <a:gd name="T6" fmla="*/ 3 w 139"/>
                <a:gd name="T7" fmla="*/ 48 h 161"/>
                <a:gd name="T8" fmla="*/ 45 w 139"/>
                <a:gd name="T9" fmla="*/ 90 h 161"/>
                <a:gd name="T10" fmla="*/ 82 w 139"/>
                <a:gd name="T11" fmla="*/ 101 h 161"/>
                <a:gd name="T12" fmla="*/ 93 w 139"/>
                <a:gd name="T13" fmla="*/ 113 h 161"/>
                <a:gd name="T14" fmla="*/ 73 w 139"/>
                <a:gd name="T15" fmla="*/ 126 h 161"/>
                <a:gd name="T16" fmla="*/ 49 w 139"/>
                <a:gd name="T17" fmla="*/ 104 h 161"/>
                <a:gd name="T18" fmla="*/ 0 w 139"/>
                <a:gd name="T19" fmla="*/ 104 h 161"/>
                <a:gd name="T20" fmla="*/ 70 w 139"/>
                <a:gd name="T21" fmla="*/ 161 h 161"/>
                <a:gd name="T22" fmla="*/ 139 w 139"/>
                <a:gd name="T23" fmla="*/ 109 h 161"/>
                <a:gd name="T24" fmla="*/ 112 w 139"/>
                <a:gd name="T25" fmla="*/ 70 h 161"/>
                <a:gd name="T26" fmla="*/ 71 w 139"/>
                <a:gd name="T27" fmla="*/ 58 h 161"/>
                <a:gd name="T28" fmla="*/ 50 w 139"/>
                <a:gd name="T29" fmla="*/ 44 h 161"/>
                <a:gd name="T30" fmla="*/ 68 w 139"/>
                <a:gd name="T31" fmla="*/ 33 h 161"/>
                <a:gd name="T32" fmla="*/ 88 w 139"/>
                <a:gd name="T33" fmla="*/ 5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161">
                  <a:moveTo>
                    <a:pt x="88" y="50"/>
                  </a:moveTo>
                  <a:cubicBezTo>
                    <a:pt x="135" y="50"/>
                    <a:pt x="135" y="50"/>
                    <a:pt x="135" y="50"/>
                  </a:cubicBezTo>
                  <a:cubicBezTo>
                    <a:pt x="135" y="24"/>
                    <a:pt x="116" y="0"/>
                    <a:pt x="69" y="0"/>
                  </a:cubicBezTo>
                  <a:cubicBezTo>
                    <a:pt x="19" y="0"/>
                    <a:pt x="3" y="28"/>
                    <a:pt x="3" y="48"/>
                  </a:cubicBezTo>
                  <a:cubicBezTo>
                    <a:pt x="3" y="81"/>
                    <a:pt x="43" y="90"/>
                    <a:pt x="45" y="90"/>
                  </a:cubicBezTo>
                  <a:cubicBezTo>
                    <a:pt x="51" y="92"/>
                    <a:pt x="76" y="99"/>
                    <a:pt x="82" y="101"/>
                  </a:cubicBezTo>
                  <a:cubicBezTo>
                    <a:pt x="87" y="103"/>
                    <a:pt x="93" y="107"/>
                    <a:pt x="93" y="113"/>
                  </a:cubicBezTo>
                  <a:cubicBezTo>
                    <a:pt x="93" y="122"/>
                    <a:pt x="82" y="126"/>
                    <a:pt x="73" y="126"/>
                  </a:cubicBezTo>
                  <a:cubicBezTo>
                    <a:pt x="68" y="126"/>
                    <a:pt x="49" y="124"/>
                    <a:pt x="49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31"/>
                    <a:pt x="19" y="161"/>
                    <a:pt x="70" y="161"/>
                  </a:cubicBezTo>
                  <a:cubicBezTo>
                    <a:pt x="127" y="161"/>
                    <a:pt x="139" y="127"/>
                    <a:pt x="139" y="109"/>
                  </a:cubicBezTo>
                  <a:cubicBezTo>
                    <a:pt x="139" y="94"/>
                    <a:pt x="131" y="78"/>
                    <a:pt x="112" y="70"/>
                  </a:cubicBezTo>
                  <a:cubicBezTo>
                    <a:pt x="100" y="65"/>
                    <a:pt x="81" y="61"/>
                    <a:pt x="71" y="58"/>
                  </a:cubicBezTo>
                  <a:cubicBezTo>
                    <a:pt x="66" y="57"/>
                    <a:pt x="50" y="54"/>
                    <a:pt x="50" y="44"/>
                  </a:cubicBezTo>
                  <a:cubicBezTo>
                    <a:pt x="50" y="31"/>
                    <a:pt x="71" y="33"/>
                    <a:pt x="68" y="33"/>
                  </a:cubicBezTo>
                  <a:cubicBezTo>
                    <a:pt x="77" y="33"/>
                    <a:pt x="88" y="38"/>
                    <a:pt x="88" y="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3550510" y="4571497"/>
              <a:ext cx="155304" cy="203480"/>
            </a:xfrm>
            <a:custGeom>
              <a:avLst/>
              <a:gdLst>
                <a:gd name="T0" fmla="*/ 0 w 245"/>
                <a:gd name="T1" fmla="*/ 0 h 321"/>
                <a:gd name="T2" fmla="*/ 245 w 245"/>
                <a:gd name="T3" fmla="*/ 0 h 321"/>
                <a:gd name="T4" fmla="*/ 245 w 245"/>
                <a:gd name="T5" fmla="*/ 86 h 321"/>
                <a:gd name="T6" fmla="*/ 99 w 245"/>
                <a:gd name="T7" fmla="*/ 86 h 321"/>
                <a:gd name="T8" fmla="*/ 99 w 245"/>
                <a:gd name="T9" fmla="*/ 140 h 321"/>
                <a:gd name="T10" fmla="*/ 229 w 245"/>
                <a:gd name="T11" fmla="*/ 140 h 321"/>
                <a:gd name="T12" fmla="*/ 229 w 245"/>
                <a:gd name="T13" fmla="*/ 223 h 321"/>
                <a:gd name="T14" fmla="*/ 99 w 245"/>
                <a:gd name="T15" fmla="*/ 223 h 321"/>
                <a:gd name="T16" fmla="*/ 99 w 245"/>
                <a:gd name="T17" fmla="*/ 321 h 321"/>
                <a:gd name="T18" fmla="*/ 0 w 245"/>
                <a:gd name="T19" fmla="*/ 321 h 321"/>
                <a:gd name="T20" fmla="*/ 0 w 245"/>
                <a:gd name="T21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5" h="321">
                  <a:moveTo>
                    <a:pt x="0" y="0"/>
                  </a:moveTo>
                  <a:lnTo>
                    <a:pt x="245" y="0"/>
                  </a:lnTo>
                  <a:lnTo>
                    <a:pt x="245" y="86"/>
                  </a:lnTo>
                  <a:lnTo>
                    <a:pt x="99" y="86"/>
                  </a:lnTo>
                  <a:lnTo>
                    <a:pt x="99" y="140"/>
                  </a:lnTo>
                  <a:lnTo>
                    <a:pt x="229" y="140"/>
                  </a:lnTo>
                  <a:lnTo>
                    <a:pt x="229" y="223"/>
                  </a:lnTo>
                  <a:lnTo>
                    <a:pt x="99" y="223"/>
                  </a:lnTo>
                  <a:lnTo>
                    <a:pt x="99" y="321"/>
                  </a:lnTo>
                  <a:lnTo>
                    <a:pt x="0" y="3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/>
            <p:cNvSpPr>
              <a:spLocks/>
            </p:cNvSpPr>
            <p:nvPr userDrawn="1"/>
          </p:nvSpPr>
          <p:spPr bwMode="auto">
            <a:xfrm>
              <a:off x="2576849" y="4861820"/>
              <a:ext cx="110298" cy="88111"/>
            </a:xfrm>
            <a:custGeom>
              <a:avLst/>
              <a:gdLst>
                <a:gd name="T0" fmla="*/ 125 w 174"/>
                <a:gd name="T1" fmla="*/ 116 h 139"/>
                <a:gd name="T2" fmla="*/ 125 w 174"/>
                <a:gd name="T3" fmla="*/ 116 h 139"/>
                <a:gd name="T4" fmla="*/ 96 w 174"/>
                <a:gd name="T5" fmla="*/ 0 h 139"/>
                <a:gd name="T6" fmla="*/ 77 w 174"/>
                <a:gd name="T7" fmla="*/ 0 h 139"/>
                <a:gd name="T8" fmla="*/ 46 w 174"/>
                <a:gd name="T9" fmla="*/ 116 h 139"/>
                <a:gd name="T10" fmla="*/ 44 w 174"/>
                <a:gd name="T11" fmla="*/ 116 h 139"/>
                <a:gd name="T12" fmla="*/ 44 w 174"/>
                <a:gd name="T13" fmla="*/ 116 h 139"/>
                <a:gd name="T14" fmla="*/ 16 w 174"/>
                <a:gd name="T15" fmla="*/ 0 h 139"/>
                <a:gd name="T16" fmla="*/ 0 w 174"/>
                <a:gd name="T17" fmla="*/ 0 h 139"/>
                <a:gd name="T18" fmla="*/ 35 w 174"/>
                <a:gd name="T19" fmla="*/ 139 h 139"/>
                <a:gd name="T20" fmla="*/ 52 w 174"/>
                <a:gd name="T21" fmla="*/ 139 h 139"/>
                <a:gd name="T22" fmla="*/ 86 w 174"/>
                <a:gd name="T23" fmla="*/ 21 h 139"/>
                <a:gd name="T24" fmla="*/ 86 w 174"/>
                <a:gd name="T25" fmla="*/ 21 h 139"/>
                <a:gd name="T26" fmla="*/ 86 w 174"/>
                <a:gd name="T27" fmla="*/ 21 h 139"/>
                <a:gd name="T28" fmla="*/ 117 w 174"/>
                <a:gd name="T29" fmla="*/ 139 h 139"/>
                <a:gd name="T30" fmla="*/ 136 w 174"/>
                <a:gd name="T31" fmla="*/ 139 h 139"/>
                <a:gd name="T32" fmla="*/ 174 w 174"/>
                <a:gd name="T33" fmla="*/ 0 h 139"/>
                <a:gd name="T34" fmla="*/ 155 w 174"/>
                <a:gd name="T35" fmla="*/ 0 h 139"/>
                <a:gd name="T36" fmla="*/ 128 w 174"/>
                <a:gd name="T37" fmla="*/ 116 h 139"/>
                <a:gd name="T38" fmla="*/ 125 w 174"/>
                <a:gd name="T39" fmla="*/ 116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4" h="139">
                  <a:moveTo>
                    <a:pt x="125" y="116"/>
                  </a:moveTo>
                  <a:lnTo>
                    <a:pt x="125" y="116"/>
                  </a:lnTo>
                  <a:lnTo>
                    <a:pt x="96" y="0"/>
                  </a:lnTo>
                  <a:lnTo>
                    <a:pt x="77" y="0"/>
                  </a:lnTo>
                  <a:lnTo>
                    <a:pt x="46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35" y="139"/>
                  </a:lnTo>
                  <a:lnTo>
                    <a:pt x="52" y="139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117" y="139"/>
                  </a:lnTo>
                  <a:lnTo>
                    <a:pt x="136" y="139"/>
                  </a:lnTo>
                  <a:lnTo>
                    <a:pt x="174" y="0"/>
                  </a:lnTo>
                  <a:lnTo>
                    <a:pt x="155" y="0"/>
                  </a:lnTo>
                  <a:lnTo>
                    <a:pt x="128" y="116"/>
                  </a:lnTo>
                  <a:lnTo>
                    <a:pt x="125" y="1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6"/>
            <p:cNvSpPr>
              <a:spLocks noEditPoints="1"/>
            </p:cNvSpPr>
            <p:nvPr userDrawn="1"/>
          </p:nvSpPr>
          <p:spPr bwMode="auto">
            <a:xfrm>
              <a:off x="2685879" y="4884640"/>
              <a:ext cx="58318" cy="66559"/>
            </a:xfrm>
            <a:custGeom>
              <a:avLst/>
              <a:gdLst>
                <a:gd name="T0" fmla="*/ 40 w 44"/>
                <a:gd name="T1" fmla="*/ 10 h 50"/>
                <a:gd name="T2" fmla="*/ 33 w 44"/>
                <a:gd name="T3" fmla="*/ 3 h 50"/>
                <a:gd name="T4" fmla="*/ 22 w 44"/>
                <a:gd name="T5" fmla="*/ 0 h 50"/>
                <a:gd name="T6" fmla="*/ 14 w 44"/>
                <a:gd name="T7" fmla="*/ 2 h 50"/>
                <a:gd name="T8" fmla="*/ 6 w 44"/>
                <a:gd name="T9" fmla="*/ 7 h 50"/>
                <a:gd name="T10" fmla="*/ 2 w 44"/>
                <a:gd name="T11" fmla="*/ 15 h 50"/>
                <a:gd name="T12" fmla="*/ 0 w 44"/>
                <a:gd name="T13" fmla="*/ 25 h 50"/>
                <a:gd name="T14" fmla="*/ 2 w 44"/>
                <a:gd name="T15" fmla="*/ 35 h 50"/>
                <a:gd name="T16" fmla="*/ 6 w 44"/>
                <a:gd name="T17" fmla="*/ 43 h 50"/>
                <a:gd name="T18" fmla="*/ 13 w 44"/>
                <a:gd name="T19" fmla="*/ 48 h 50"/>
                <a:gd name="T20" fmla="*/ 23 w 44"/>
                <a:gd name="T21" fmla="*/ 50 h 50"/>
                <a:gd name="T22" fmla="*/ 36 w 44"/>
                <a:gd name="T23" fmla="*/ 46 h 50"/>
                <a:gd name="T24" fmla="*/ 43 w 44"/>
                <a:gd name="T25" fmla="*/ 34 h 50"/>
                <a:gd name="T26" fmla="*/ 36 w 44"/>
                <a:gd name="T27" fmla="*/ 34 h 50"/>
                <a:gd name="T28" fmla="*/ 32 w 44"/>
                <a:gd name="T29" fmla="*/ 41 h 50"/>
                <a:gd name="T30" fmla="*/ 23 w 44"/>
                <a:gd name="T31" fmla="*/ 43 h 50"/>
                <a:gd name="T32" fmla="*/ 16 w 44"/>
                <a:gd name="T33" fmla="*/ 42 h 50"/>
                <a:gd name="T34" fmla="*/ 11 w 44"/>
                <a:gd name="T35" fmla="*/ 39 h 50"/>
                <a:gd name="T36" fmla="*/ 9 w 44"/>
                <a:gd name="T37" fmla="*/ 34 h 50"/>
                <a:gd name="T38" fmla="*/ 8 w 44"/>
                <a:gd name="T39" fmla="*/ 27 h 50"/>
                <a:gd name="T40" fmla="*/ 8 w 44"/>
                <a:gd name="T41" fmla="*/ 27 h 50"/>
                <a:gd name="T42" fmla="*/ 44 w 44"/>
                <a:gd name="T43" fmla="*/ 27 h 50"/>
                <a:gd name="T44" fmla="*/ 43 w 44"/>
                <a:gd name="T45" fmla="*/ 18 h 50"/>
                <a:gd name="T46" fmla="*/ 40 w 44"/>
                <a:gd name="T47" fmla="*/ 10 h 50"/>
                <a:gd name="T48" fmla="*/ 8 w 44"/>
                <a:gd name="T49" fmla="*/ 21 h 50"/>
                <a:gd name="T50" fmla="*/ 8 w 44"/>
                <a:gd name="T51" fmla="*/ 20 h 50"/>
                <a:gd name="T52" fmla="*/ 9 w 44"/>
                <a:gd name="T53" fmla="*/ 15 h 50"/>
                <a:gd name="T54" fmla="*/ 12 w 44"/>
                <a:gd name="T55" fmla="*/ 11 h 50"/>
                <a:gd name="T56" fmla="*/ 16 w 44"/>
                <a:gd name="T57" fmla="*/ 8 h 50"/>
                <a:gd name="T58" fmla="*/ 22 w 44"/>
                <a:gd name="T59" fmla="*/ 7 h 50"/>
                <a:gd name="T60" fmla="*/ 27 w 44"/>
                <a:gd name="T61" fmla="*/ 8 h 50"/>
                <a:gd name="T62" fmla="*/ 32 w 44"/>
                <a:gd name="T63" fmla="*/ 11 h 50"/>
                <a:gd name="T64" fmla="*/ 35 w 44"/>
                <a:gd name="T65" fmla="*/ 15 h 50"/>
                <a:gd name="T66" fmla="*/ 36 w 44"/>
                <a:gd name="T67" fmla="*/ 20 h 50"/>
                <a:gd name="T68" fmla="*/ 36 w 44"/>
                <a:gd name="T69" fmla="*/ 21 h 50"/>
                <a:gd name="T70" fmla="*/ 8 w 44"/>
                <a:gd name="T71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" h="50">
                  <a:moveTo>
                    <a:pt x="40" y="10"/>
                  </a:moveTo>
                  <a:cubicBezTo>
                    <a:pt x="38" y="7"/>
                    <a:pt x="36" y="5"/>
                    <a:pt x="33" y="3"/>
                  </a:cubicBezTo>
                  <a:cubicBezTo>
                    <a:pt x="30" y="1"/>
                    <a:pt x="27" y="0"/>
                    <a:pt x="22" y="0"/>
                  </a:cubicBezTo>
                  <a:cubicBezTo>
                    <a:pt x="19" y="0"/>
                    <a:pt x="16" y="1"/>
                    <a:pt x="14" y="2"/>
                  </a:cubicBezTo>
                  <a:cubicBezTo>
                    <a:pt x="11" y="3"/>
                    <a:pt x="8" y="5"/>
                    <a:pt x="6" y="7"/>
                  </a:cubicBezTo>
                  <a:cubicBezTo>
                    <a:pt x="4" y="9"/>
                    <a:pt x="3" y="12"/>
                    <a:pt x="2" y="15"/>
                  </a:cubicBezTo>
                  <a:cubicBezTo>
                    <a:pt x="1" y="18"/>
                    <a:pt x="0" y="21"/>
                    <a:pt x="0" y="25"/>
                  </a:cubicBezTo>
                  <a:cubicBezTo>
                    <a:pt x="0" y="29"/>
                    <a:pt x="1" y="32"/>
                    <a:pt x="2" y="35"/>
                  </a:cubicBezTo>
                  <a:cubicBezTo>
                    <a:pt x="3" y="38"/>
                    <a:pt x="4" y="41"/>
                    <a:pt x="6" y="43"/>
                  </a:cubicBezTo>
                  <a:cubicBezTo>
                    <a:pt x="8" y="45"/>
                    <a:pt x="10" y="47"/>
                    <a:pt x="13" y="48"/>
                  </a:cubicBezTo>
                  <a:cubicBezTo>
                    <a:pt x="16" y="49"/>
                    <a:pt x="19" y="50"/>
                    <a:pt x="23" y="50"/>
                  </a:cubicBezTo>
                  <a:cubicBezTo>
                    <a:pt x="28" y="50"/>
                    <a:pt x="33" y="48"/>
                    <a:pt x="36" y="46"/>
                  </a:cubicBezTo>
                  <a:cubicBezTo>
                    <a:pt x="40" y="43"/>
                    <a:pt x="42" y="39"/>
                    <a:pt x="43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5" y="37"/>
                    <a:pt x="34" y="40"/>
                    <a:pt x="32" y="41"/>
                  </a:cubicBezTo>
                  <a:cubicBezTo>
                    <a:pt x="29" y="43"/>
                    <a:pt x="27" y="43"/>
                    <a:pt x="23" y="43"/>
                  </a:cubicBezTo>
                  <a:cubicBezTo>
                    <a:pt x="21" y="43"/>
                    <a:pt x="18" y="43"/>
                    <a:pt x="16" y="42"/>
                  </a:cubicBezTo>
                  <a:cubicBezTo>
                    <a:pt x="14" y="41"/>
                    <a:pt x="13" y="40"/>
                    <a:pt x="11" y="39"/>
                  </a:cubicBezTo>
                  <a:cubicBezTo>
                    <a:pt x="10" y="37"/>
                    <a:pt x="9" y="35"/>
                    <a:pt x="9" y="34"/>
                  </a:cubicBezTo>
                  <a:cubicBezTo>
                    <a:pt x="8" y="32"/>
                    <a:pt x="8" y="30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4"/>
                    <a:pt x="44" y="21"/>
                    <a:pt x="43" y="18"/>
                  </a:cubicBezTo>
                  <a:cubicBezTo>
                    <a:pt x="42" y="15"/>
                    <a:pt x="41" y="12"/>
                    <a:pt x="40" y="10"/>
                  </a:cubicBezTo>
                  <a:moveTo>
                    <a:pt x="8" y="21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8" y="19"/>
                    <a:pt x="9" y="17"/>
                    <a:pt x="9" y="15"/>
                  </a:cubicBezTo>
                  <a:cubicBezTo>
                    <a:pt x="10" y="14"/>
                    <a:pt x="11" y="12"/>
                    <a:pt x="12" y="11"/>
                  </a:cubicBezTo>
                  <a:cubicBezTo>
                    <a:pt x="13" y="10"/>
                    <a:pt x="15" y="9"/>
                    <a:pt x="16" y="8"/>
                  </a:cubicBezTo>
                  <a:cubicBezTo>
                    <a:pt x="18" y="7"/>
                    <a:pt x="20" y="7"/>
                    <a:pt x="22" y="7"/>
                  </a:cubicBezTo>
                  <a:cubicBezTo>
                    <a:pt x="24" y="7"/>
                    <a:pt x="26" y="7"/>
                    <a:pt x="27" y="8"/>
                  </a:cubicBezTo>
                  <a:cubicBezTo>
                    <a:pt x="29" y="9"/>
                    <a:pt x="31" y="10"/>
                    <a:pt x="32" y="11"/>
                  </a:cubicBezTo>
                  <a:cubicBezTo>
                    <a:pt x="33" y="12"/>
                    <a:pt x="34" y="13"/>
                    <a:pt x="35" y="15"/>
                  </a:cubicBezTo>
                  <a:cubicBezTo>
                    <a:pt x="35" y="17"/>
                    <a:pt x="36" y="19"/>
                    <a:pt x="36" y="20"/>
                  </a:cubicBezTo>
                  <a:cubicBezTo>
                    <a:pt x="36" y="21"/>
                    <a:pt x="36" y="21"/>
                    <a:pt x="36" y="21"/>
                  </a:cubicBezTo>
                  <a:lnTo>
                    <a:pt x="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7"/>
            <p:cNvSpPr>
              <a:spLocks/>
            </p:cNvSpPr>
            <p:nvPr userDrawn="1"/>
          </p:nvSpPr>
          <p:spPr bwMode="auto">
            <a:xfrm>
              <a:off x="2787936" y="4884640"/>
              <a:ext cx="57050" cy="66559"/>
            </a:xfrm>
            <a:custGeom>
              <a:avLst/>
              <a:gdLst>
                <a:gd name="T0" fmla="*/ 22 w 43"/>
                <a:gd name="T1" fmla="*/ 43 h 50"/>
                <a:gd name="T2" fmla="*/ 16 w 43"/>
                <a:gd name="T3" fmla="*/ 42 h 50"/>
                <a:gd name="T4" fmla="*/ 11 w 43"/>
                <a:gd name="T5" fmla="*/ 38 h 50"/>
                <a:gd name="T6" fmla="*/ 9 w 43"/>
                <a:gd name="T7" fmla="*/ 32 h 50"/>
                <a:gd name="T8" fmla="*/ 8 w 43"/>
                <a:gd name="T9" fmla="*/ 26 h 50"/>
                <a:gd name="T10" fmla="*/ 9 w 43"/>
                <a:gd name="T11" fmla="*/ 19 h 50"/>
                <a:gd name="T12" fmla="*/ 11 w 43"/>
                <a:gd name="T13" fmla="*/ 13 h 50"/>
                <a:gd name="T14" fmla="*/ 16 w 43"/>
                <a:gd name="T15" fmla="*/ 8 h 50"/>
                <a:gd name="T16" fmla="*/ 23 w 43"/>
                <a:gd name="T17" fmla="*/ 7 h 50"/>
                <a:gd name="T18" fmla="*/ 31 w 43"/>
                <a:gd name="T19" fmla="*/ 9 h 50"/>
                <a:gd name="T20" fmla="*/ 35 w 43"/>
                <a:gd name="T21" fmla="*/ 16 h 50"/>
                <a:gd name="T22" fmla="*/ 43 w 43"/>
                <a:gd name="T23" fmla="*/ 16 h 50"/>
                <a:gd name="T24" fmla="*/ 41 w 43"/>
                <a:gd name="T25" fmla="*/ 9 h 50"/>
                <a:gd name="T26" fmla="*/ 36 w 43"/>
                <a:gd name="T27" fmla="*/ 4 h 50"/>
                <a:gd name="T28" fmla="*/ 30 w 43"/>
                <a:gd name="T29" fmla="*/ 1 h 50"/>
                <a:gd name="T30" fmla="*/ 23 w 43"/>
                <a:gd name="T31" fmla="*/ 0 h 50"/>
                <a:gd name="T32" fmla="*/ 13 w 43"/>
                <a:gd name="T33" fmla="*/ 2 h 50"/>
                <a:gd name="T34" fmla="*/ 6 w 43"/>
                <a:gd name="T35" fmla="*/ 8 h 50"/>
                <a:gd name="T36" fmla="*/ 2 w 43"/>
                <a:gd name="T37" fmla="*/ 16 h 50"/>
                <a:gd name="T38" fmla="*/ 0 w 43"/>
                <a:gd name="T39" fmla="*/ 26 h 50"/>
                <a:gd name="T40" fmla="*/ 2 w 43"/>
                <a:gd name="T41" fmla="*/ 35 h 50"/>
                <a:gd name="T42" fmla="*/ 6 w 43"/>
                <a:gd name="T43" fmla="*/ 43 h 50"/>
                <a:gd name="T44" fmla="*/ 13 w 43"/>
                <a:gd name="T45" fmla="*/ 48 h 50"/>
                <a:gd name="T46" fmla="*/ 22 w 43"/>
                <a:gd name="T47" fmla="*/ 50 h 50"/>
                <a:gd name="T48" fmla="*/ 37 w 43"/>
                <a:gd name="T49" fmla="*/ 45 h 50"/>
                <a:gd name="T50" fmla="*/ 43 w 43"/>
                <a:gd name="T51" fmla="*/ 32 h 50"/>
                <a:gd name="T52" fmla="*/ 36 w 43"/>
                <a:gd name="T53" fmla="*/ 32 h 50"/>
                <a:gd name="T54" fmla="*/ 32 w 43"/>
                <a:gd name="T55" fmla="*/ 40 h 50"/>
                <a:gd name="T56" fmla="*/ 22 w 43"/>
                <a:gd name="T57" fmla="*/ 4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3" h="50">
                  <a:moveTo>
                    <a:pt x="22" y="43"/>
                  </a:moveTo>
                  <a:cubicBezTo>
                    <a:pt x="20" y="43"/>
                    <a:pt x="18" y="43"/>
                    <a:pt x="16" y="42"/>
                  </a:cubicBezTo>
                  <a:cubicBezTo>
                    <a:pt x="14" y="41"/>
                    <a:pt x="12" y="40"/>
                    <a:pt x="11" y="38"/>
                  </a:cubicBezTo>
                  <a:cubicBezTo>
                    <a:pt x="10" y="36"/>
                    <a:pt x="9" y="34"/>
                    <a:pt x="9" y="32"/>
                  </a:cubicBezTo>
                  <a:cubicBezTo>
                    <a:pt x="8" y="30"/>
                    <a:pt x="8" y="28"/>
                    <a:pt x="8" y="26"/>
                  </a:cubicBezTo>
                  <a:cubicBezTo>
                    <a:pt x="8" y="23"/>
                    <a:pt x="8" y="21"/>
                    <a:pt x="9" y="19"/>
                  </a:cubicBezTo>
                  <a:cubicBezTo>
                    <a:pt x="9" y="16"/>
                    <a:pt x="10" y="14"/>
                    <a:pt x="11" y="13"/>
                  </a:cubicBezTo>
                  <a:cubicBezTo>
                    <a:pt x="12" y="11"/>
                    <a:pt x="14" y="9"/>
                    <a:pt x="16" y="8"/>
                  </a:cubicBezTo>
                  <a:cubicBezTo>
                    <a:pt x="18" y="7"/>
                    <a:pt x="20" y="7"/>
                    <a:pt x="23" y="7"/>
                  </a:cubicBezTo>
                  <a:cubicBezTo>
                    <a:pt x="27" y="7"/>
                    <a:pt x="29" y="8"/>
                    <a:pt x="31" y="9"/>
                  </a:cubicBezTo>
                  <a:cubicBezTo>
                    <a:pt x="33" y="11"/>
                    <a:pt x="35" y="13"/>
                    <a:pt x="35" y="16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3" y="14"/>
                    <a:pt x="42" y="11"/>
                    <a:pt x="41" y="9"/>
                  </a:cubicBezTo>
                  <a:cubicBezTo>
                    <a:pt x="40" y="7"/>
                    <a:pt x="38" y="6"/>
                    <a:pt x="36" y="4"/>
                  </a:cubicBezTo>
                  <a:cubicBezTo>
                    <a:pt x="35" y="3"/>
                    <a:pt x="32" y="2"/>
                    <a:pt x="30" y="1"/>
                  </a:cubicBezTo>
                  <a:cubicBezTo>
                    <a:pt x="28" y="1"/>
                    <a:pt x="25" y="0"/>
                    <a:pt x="23" y="0"/>
                  </a:cubicBezTo>
                  <a:cubicBezTo>
                    <a:pt x="19" y="0"/>
                    <a:pt x="16" y="1"/>
                    <a:pt x="13" y="2"/>
                  </a:cubicBezTo>
                  <a:cubicBezTo>
                    <a:pt x="10" y="4"/>
                    <a:pt x="8" y="5"/>
                    <a:pt x="6" y="8"/>
                  </a:cubicBezTo>
                  <a:cubicBezTo>
                    <a:pt x="4" y="10"/>
                    <a:pt x="2" y="13"/>
                    <a:pt x="2" y="16"/>
                  </a:cubicBezTo>
                  <a:cubicBezTo>
                    <a:pt x="1" y="19"/>
                    <a:pt x="0" y="22"/>
                    <a:pt x="0" y="26"/>
                  </a:cubicBezTo>
                  <a:cubicBezTo>
                    <a:pt x="0" y="29"/>
                    <a:pt x="1" y="33"/>
                    <a:pt x="2" y="35"/>
                  </a:cubicBezTo>
                  <a:cubicBezTo>
                    <a:pt x="3" y="38"/>
                    <a:pt x="4" y="41"/>
                    <a:pt x="6" y="43"/>
                  </a:cubicBezTo>
                  <a:cubicBezTo>
                    <a:pt x="8" y="45"/>
                    <a:pt x="10" y="47"/>
                    <a:pt x="13" y="48"/>
                  </a:cubicBezTo>
                  <a:cubicBezTo>
                    <a:pt x="16" y="49"/>
                    <a:pt x="19" y="50"/>
                    <a:pt x="22" y="50"/>
                  </a:cubicBezTo>
                  <a:cubicBezTo>
                    <a:pt x="28" y="50"/>
                    <a:pt x="33" y="48"/>
                    <a:pt x="37" y="45"/>
                  </a:cubicBezTo>
                  <a:cubicBezTo>
                    <a:pt x="40" y="42"/>
                    <a:pt x="42" y="37"/>
                    <a:pt x="43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5"/>
                    <a:pt x="34" y="38"/>
                    <a:pt x="32" y="40"/>
                  </a:cubicBezTo>
                  <a:cubicBezTo>
                    <a:pt x="29" y="42"/>
                    <a:pt x="26" y="43"/>
                    <a:pt x="22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8"/>
            <p:cNvSpPr>
              <a:spLocks/>
            </p:cNvSpPr>
            <p:nvPr userDrawn="1"/>
          </p:nvSpPr>
          <p:spPr bwMode="auto">
            <a:xfrm>
              <a:off x="2858298" y="4884640"/>
              <a:ext cx="31695" cy="65291"/>
            </a:xfrm>
            <a:custGeom>
              <a:avLst/>
              <a:gdLst>
                <a:gd name="T0" fmla="*/ 14 w 24"/>
                <a:gd name="T1" fmla="*/ 3 h 49"/>
                <a:gd name="T2" fmla="*/ 7 w 24"/>
                <a:gd name="T3" fmla="*/ 11 h 49"/>
                <a:gd name="T4" fmla="*/ 7 w 24"/>
                <a:gd name="T5" fmla="*/ 11 h 49"/>
                <a:gd name="T6" fmla="*/ 7 w 24"/>
                <a:gd name="T7" fmla="*/ 11 h 49"/>
                <a:gd name="T8" fmla="*/ 7 w 24"/>
                <a:gd name="T9" fmla="*/ 1 h 49"/>
                <a:gd name="T10" fmla="*/ 0 w 24"/>
                <a:gd name="T11" fmla="*/ 1 h 49"/>
                <a:gd name="T12" fmla="*/ 0 w 24"/>
                <a:gd name="T13" fmla="*/ 49 h 49"/>
                <a:gd name="T14" fmla="*/ 7 w 24"/>
                <a:gd name="T15" fmla="*/ 49 h 49"/>
                <a:gd name="T16" fmla="*/ 7 w 24"/>
                <a:gd name="T17" fmla="*/ 28 h 49"/>
                <a:gd name="T18" fmla="*/ 8 w 24"/>
                <a:gd name="T19" fmla="*/ 19 h 49"/>
                <a:gd name="T20" fmla="*/ 11 w 24"/>
                <a:gd name="T21" fmla="*/ 13 h 49"/>
                <a:gd name="T22" fmla="*/ 17 w 24"/>
                <a:gd name="T23" fmla="*/ 9 h 49"/>
                <a:gd name="T24" fmla="*/ 24 w 24"/>
                <a:gd name="T25" fmla="*/ 8 h 49"/>
                <a:gd name="T26" fmla="*/ 24 w 24"/>
                <a:gd name="T27" fmla="*/ 0 h 49"/>
                <a:gd name="T28" fmla="*/ 24 w 24"/>
                <a:gd name="T29" fmla="*/ 0 h 49"/>
                <a:gd name="T30" fmla="*/ 14 w 24"/>
                <a:gd name="T31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49">
                  <a:moveTo>
                    <a:pt x="14" y="3"/>
                  </a:moveTo>
                  <a:cubicBezTo>
                    <a:pt x="12" y="5"/>
                    <a:pt x="9" y="8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5"/>
                    <a:pt x="7" y="22"/>
                    <a:pt x="8" y="19"/>
                  </a:cubicBezTo>
                  <a:cubicBezTo>
                    <a:pt x="9" y="17"/>
                    <a:pt x="10" y="15"/>
                    <a:pt x="11" y="13"/>
                  </a:cubicBezTo>
                  <a:cubicBezTo>
                    <a:pt x="12" y="12"/>
                    <a:pt x="14" y="10"/>
                    <a:pt x="17" y="9"/>
                  </a:cubicBezTo>
                  <a:cubicBezTo>
                    <a:pt x="19" y="9"/>
                    <a:pt x="21" y="8"/>
                    <a:pt x="24" y="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17" y="1"/>
                    <a:pt x="14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9"/>
            <p:cNvSpPr>
              <a:spLocks noEditPoints="1"/>
            </p:cNvSpPr>
            <p:nvPr userDrawn="1"/>
          </p:nvSpPr>
          <p:spPr bwMode="auto">
            <a:xfrm>
              <a:off x="2891261" y="4884640"/>
              <a:ext cx="58952" cy="66559"/>
            </a:xfrm>
            <a:custGeom>
              <a:avLst/>
              <a:gdLst>
                <a:gd name="T0" fmla="*/ 40 w 44"/>
                <a:gd name="T1" fmla="*/ 10 h 50"/>
                <a:gd name="T2" fmla="*/ 33 w 44"/>
                <a:gd name="T3" fmla="*/ 3 h 50"/>
                <a:gd name="T4" fmla="*/ 23 w 44"/>
                <a:gd name="T5" fmla="*/ 0 h 50"/>
                <a:gd name="T6" fmla="*/ 14 w 44"/>
                <a:gd name="T7" fmla="*/ 2 h 50"/>
                <a:gd name="T8" fmla="*/ 7 w 44"/>
                <a:gd name="T9" fmla="*/ 7 h 50"/>
                <a:gd name="T10" fmla="*/ 2 w 44"/>
                <a:gd name="T11" fmla="*/ 15 h 50"/>
                <a:gd name="T12" fmla="*/ 0 w 44"/>
                <a:gd name="T13" fmla="*/ 25 h 50"/>
                <a:gd name="T14" fmla="*/ 2 w 44"/>
                <a:gd name="T15" fmla="*/ 35 h 50"/>
                <a:gd name="T16" fmla="*/ 6 w 44"/>
                <a:gd name="T17" fmla="*/ 43 h 50"/>
                <a:gd name="T18" fmla="*/ 13 w 44"/>
                <a:gd name="T19" fmla="*/ 48 h 50"/>
                <a:gd name="T20" fmla="*/ 23 w 44"/>
                <a:gd name="T21" fmla="*/ 50 h 50"/>
                <a:gd name="T22" fmla="*/ 36 w 44"/>
                <a:gd name="T23" fmla="*/ 46 h 50"/>
                <a:gd name="T24" fmla="*/ 43 w 44"/>
                <a:gd name="T25" fmla="*/ 34 h 50"/>
                <a:gd name="T26" fmla="*/ 36 w 44"/>
                <a:gd name="T27" fmla="*/ 34 h 50"/>
                <a:gd name="T28" fmla="*/ 32 w 44"/>
                <a:gd name="T29" fmla="*/ 41 h 50"/>
                <a:gd name="T30" fmla="*/ 23 w 44"/>
                <a:gd name="T31" fmla="*/ 43 h 50"/>
                <a:gd name="T32" fmla="*/ 16 w 44"/>
                <a:gd name="T33" fmla="*/ 42 h 50"/>
                <a:gd name="T34" fmla="*/ 12 w 44"/>
                <a:gd name="T35" fmla="*/ 39 h 50"/>
                <a:gd name="T36" fmla="*/ 9 w 44"/>
                <a:gd name="T37" fmla="*/ 34 h 50"/>
                <a:gd name="T38" fmla="*/ 8 w 44"/>
                <a:gd name="T39" fmla="*/ 27 h 50"/>
                <a:gd name="T40" fmla="*/ 8 w 44"/>
                <a:gd name="T41" fmla="*/ 27 h 50"/>
                <a:gd name="T42" fmla="*/ 44 w 44"/>
                <a:gd name="T43" fmla="*/ 27 h 50"/>
                <a:gd name="T44" fmla="*/ 43 w 44"/>
                <a:gd name="T45" fmla="*/ 18 h 50"/>
                <a:gd name="T46" fmla="*/ 40 w 44"/>
                <a:gd name="T47" fmla="*/ 10 h 50"/>
                <a:gd name="T48" fmla="*/ 8 w 44"/>
                <a:gd name="T49" fmla="*/ 21 h 50"/>
                <a:gd name="T50" fmla="*/ 8 w 44"/>
                <a:gd name="T51" fmla="*/ 20 h 50"/>
                <a:gd name="T52" fmla="*/ 9 w 44"/>
                <a:gd name="T53" fmla="*/ 15 h 50"/>
                <a:gd name="T54" fmla="*/ 12 w 44"/>
                <a:gd name="T55" fmla="*/ 11 h 50"/>
                <a:gd name="T56" fmla="*/ 17 w 44"/>
                <a:gd name="T57" fmla="*/ 8 h 50"/>
                <a:gd name="T58" fmla="*/ 22 w 44"/>
                <a:gd name="T59" fmla="*/ 7 h 50"/>
                <a:gd name="T60" fmla="*/ 28 w 44"/>
                <a:gd name="T61" fmla="*/ 8 h 50"/>
                <a:gd name="T62" fmla="*/ 32 w 44"/>
                <a:gd name="T63" fmla="*/ 11 h 50"/>
                <a:gd name="T64" fmla="*/ 35 w 44"/>
                <a:gd name="T65" fmla="*/ 15 h 50"/>
                <a:gd name="T66" fmla="*/ 36 w 44"/>
                <a:gd name="T67" fmla="*/ 20 h 50"/>
                <a:gd name="T68" fmla="*/ 36 w 44"/>
                <a:gd name="T69" fmla="*/ 21 h 50"/>
                <a:gd name="T70" fmla="*/ 8 w 44"/>
                <a:gd name="T71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" h="50">
                  <a:moveTo>
                    <a:pt x="40" y="10"/>
                  </a:moveTo>
                  <a:cubicBezTo>
                    <a:pt x="38" y="7"/>
                    <a:pt x="36" y="5"/>
                    <a:pt x="33" y="3"/>
                  </a:cubicBezTo>
                  <a:cubicBezTo>
                    <a:pt x="30" y="1"/>
                    <a:pt x="27" y="0"/>
                    <a:pt x="23" y="0"/>
                  </a:cubicBezTo>
                  <a:cubicBezTo>
                    <a:pt x="19" y="0"/>
                    <a:pt x="16" y="1"/>
                    <a:pt x="14" y="2"/>
                  </a:cubicBezTo>
                  <a:cubicBezTo>
                    <a:pt x="11" y="3"/>
                    <a:pt x="9" y="5"/>
                    <a:pt x="7" y="7"/>
                  </a:cubicBezTo>
                  <a:cubicBezTo>
                    <a:pt x="5" y="9"/>
                    <a:pt x="3" y="12"/>
                    <a:pt x="2" y="15"/>
                  </a:cubicBezTo>
                  <a:cubicBezTo>
                    <a:pt x="1" y="18"/>
                    <a:pt x="0" y="21"/>
                    <a:pt x="0" y="25"/>
                  </a:cubicBezTo>
                  <a:cubicBezTo>
                    <a:pt x="0" y="29"/>
                    <a:pt x="1" y="32"/>
                    <a:pt x="2" y="35"/>
                  </a:cubicBezTo>
                  <a:cubicBezTo>
                    <a:pt x="3" y="38"/>
                    <a:pt x="4" y="41"/>
                    <a:pt x="6" y="43"/>
                  </a:cubicBezTo>
                  <a:cubicBezTo>
                    <a:pt x="8" y="45"/>
                    <a:pt x="10" y="47"/>
                    <a:pt x="13" y="48"/>
                  </a:cubicBezTo>
                  <a:cubicBezTo>
                    <a:pt x="16" y="49"/>
                    <a:pt x="19" y="50"/>
                    <a:pt x="23" y="50"/>
                  </a:cubicBezTo>
                  <a:cubicBezTo>
                    <a:pt x="28" y="50"/>
                    <a:pt x="33" y="48"/>
                    <a:pt x="36" y="46"/>
                  </a:cubicBezTo>
                  <a:cubicBezTo>
                    <a:pt x="40" y="43"/>
                    <a:pt x="42" y="39"/>
                    <a:pt x="43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5" y="37"/>
                    <a:pt x="34" y="40"/>
                    <a:pt x="32" y="41"/>
                  </a:cubicBezTo>
                  <a:cubicBezTo>
                    <a:pt x="30" y="43"/>
                    <a:pt x="27" y="43"/>
                    <a:pt x="23" y="43"/>
                  </a:cubicBezTo>
                  <a:cubicBezTo>
                    <a:pt x="21" y="43"/>
                    <a:pt x="18" y="43"/>
                    <a:pt x="16" y="42"/>
                  </a:cubicBezTo>
                  <a:cubicBezTo>
                    <a:pt x="15" y="41"/>
                    <a:pt x="13" y="40"/>
                    <a:pt x="12" y="39"/>
                  </a:cubicBezTo>
                  <a:cubicBezTo>
                    <a:pt x="10" y="37"/>
                    <a:pt x="9" y="35"/>
                    <a:pt x="9" y="34"/>
                  </a:cubicBezTo>
                  <a:cubicBezTo>
                    <a:pt x="8" y="32"/>
                    <a:pt x="8" y="30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4"/>
                    <a:pt x="44" y="21"/>
                    <a:pt x="43" y="18"/>
                  </a:cubicBezTo>
                  <a:cubicBezTo>
                    <a:pt x="43" y="15"/>
                    <a:pt x="41" y="12"/>
                    <a:pt x="40" y="10"/>
                  </a:cubicBezTo>
                  <a:moveTo>
                    <a:pt x="8" y="21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8" y="19"/>
                    <a:pt x="9" y="17"/>
                    <a:pt x="9" y="15"/>
                  </a:cubicBezTo>
                  <a:cubicBezTo>
                    <a:pt x="10" y="14"/>
                    <a:pt x="11" y="12"/>
                    <a:pt x="12" y="11"/>
                  </a:cubicBezTo>
                  <a:cubicBezTo>
                    <a:pt x="13" y="10"/>
                    <a:pt x="15" y="9"/>
                    <a:pt x="17" y="8"/>
                  </a:cubicBezTo>
                  <a:cubicBezTo>
                    <a:pt x="18" y="7"/>
                    <a:pt x="20" y="7"/>
                    <a:pt x="22" y="7"/>
                  </a:cubicBezTo>
                  <a:cubicBezTo>
                    <a:pt x="24" y="7"/>
                    <a:pt x="26" y="7"/>
                    <a:pt x="28" y="8"/>
                  </a:cubicBezTo>
                  <a:cubicBezTo>
                    <a:pt x="29" y="9"/>
                    <a:pt x="31" y="10"/>
                    <a:pt x="32" y="11"/>
                  </a:cubicBezTo>
                  <a:cubicBezTo>
                    <a:pt x="33" y="12"/>
                    <a:pt x="34" y="13"/>
                    <a:pt x="35" y="15"/>
                  </a:cubicBezTo>
                  <a:cubicBezTo>
                    <a:pt x="36" y="17"/>
                    <a:pt x="36" y="19"/>
                    <a:pt x="36" y="20"/>
                  </a:cubicBezTo>
                  <a:cubicBezTo>
                    <a:pt x="36" y="21"/>
                    <a:pt x="36" y="21"/>
                    <a:pt x="36" y="21"/>
                  </a:cubicBezTo>
                  <a:lnTo>
                    <a:pt x="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0"/>
            <p:cNvSpPr>
              <a:spLocks noEditPoints="1"/>
            </p:cNvSpPr>
            <p:nvPr userDrawn="1"/>
          </p:nvSpPr>
          <p:spPr bwMode="auto">
            <a:xfrm>
              <a:off x="2960355" y="4884640"/>
              <a:ext cx="58952" cy="66559"/>
            </a:xfrm>
            <a:custGeom>
              <a:avLst/>
              <a:gdLst>
                <a:gd name="T0" fmla="*/ 40 w 44"/>
                <a:gd name="T1" fmla="*/ 42 h 50"/>
                <a:gd name="T2" fmla="*/ 40 w 44"/>
                <a:gd name="T3" fmla="*/ 38 h 50"/>
                <a:gd name="T4" fmla="*/ 40 w 44"/>
                <a:gd name="T5" fmla="*/ 13 h 50"/>
                <a:gd name="T6" fmla="*/ 38 w 44"/>
                <a:gd name="T7" fmla="*/ 7 h 50"/>
                <a:gd name="T8" fmla="*/ 34 w 44"/>
                <a:gd name="T9" fmla="*/ 3 h 50"/>
                <a:gd name="T10" fmla="*/ 28 w 44"/>
                <a:gd name="T11" fmla="*/ 1 h 50"/>
                <a:gd name="T12" fmla="*/ 14 w 44"/>
                <a:gd name="T13" fmla="*/ 1 h 50"/>
                <a:gd name="T14" fmla="*/ 8 w 44"/>
                <a:gd name="T15" fmla="*/ 4 h 50"/>
                <a:gd name="T16" fmla="*/ 4 w 44"/>
                <a:gd name="T17" fmla="*/ 9 h 50"/>
                <a:gd name="T18" fmla="*/ 2 w 44"/>
                <a:gd name="T19" fmla="*/ 16 h 50"/>
                <a:gd name="T20" fmla="*/ 9 w 44"/>
                <a:gd name="T21" fmla="*/ 16 h 50"/>
                <a:gd name="T22" fmla="*/ 13 w 44"/>
                <a:gd name="T23" fmla="*/ 9 h 50"/>
                <a:gd name="T24" fmla="*/ 21 w 44"/>
                <a:gd name="T25" fmla="*/ 7 h 50"/>
                <a:gd name="T26" fmla="*/ 25 w 44"/>
                <a:gd name="T27" fmla="*/ 7 h 50"/>
                <a:gd name="T28" fmla="*/ 29 w 44"/>
                <a:gd name="T29" fmla="*/ 8 h 50"/>
                <a:gd name="T30" fmla="*/ 31 w 44"/>
                <a:gd name="T31" fmla="*/ 11 h 50"/>
                <a:gd name="T32" fmla="*/ 32 w 44"/>
                <a:gd name="T33" fmla="*/ 15 h 50"/>
                <a:gd name="T34" fmla="*/ 31 w 44"/>
                <a:gd name="T35" fmla="*/ 19 h 50"/>
                <a:gd name="T36" fmla="*/ 27 w 44"/>
                <a:gd name="T37" fmla="*/ 20 h 50"/>
                <a:gd name="T38" fmla="*/ 22 w 44"/>
                <a:gd name="T39" fmla="*/ 21 h 50"/>
                <a:gd name="T40" fmla="*/ 16 w 44"/>
                <a:gd name="T41" fmla="*/ 22 h 50"/>
                <a:gd name="T42" fmla="*/ 10 w 44"/>
                <a:gd name="T43" fmla="*/ 24 h 50"/>
                <a:gd name="T44" fmla="*/ 5 w 44"/>
                <a:gd name="T45" fmla="*/ 26 h 50"/>
                <a:gd name="T46" fmla="*/ 1 w 44"/>
                <a:gd name="T47" fmla="*/ 30 h 50"/>
                <a:gd name="T48" fmla="*/ 0 w 44"/>
                <a:gd name="T49" fmla="*/ 37 h 50"/>
                <a:gd name="T50" fmla="*/ 1 w 44"/>
                <a:gd name="T51" fmla="*/ 43 h 50"/>
                <a:gd name="T52" fmla="*/ 4 w 44"/>
                <a:gd name="T53" fmla="*/ 47 h 50"/>
                <a:gd name="T54" fmla="*/ 9 w 44"/>
                <a:gd name="T55" fmla="*/ 49 h 50"/>
                <a:gd name="T56" fmla="*/ 15 w 44"/>
                <a:gd name="T57" fmla="*/ 50 h 50"/>
                <a:gd name="T58" fmla="*/ 25 w 44"/>
                <a:gd name="T59" fmla="*/ 48 h 50"/>
                <a:gd name="T60" fmla="*/ 32 w 44"/>
                <a:gd name="T61" fmla="*/ 43 h 50"/>
                <a:gd name="T62" fmla="*/ 33 w 44"/>
                <a:gd name="T63" fmla="*/ 42 h 50"/>
                <a:gd name="T64" fmla="*/ 33 w 44"/>
                <a:gd name="T65" fmla="*/ 43 h 50"/>
                <a:gd name="T66" fmla="*/ 34 w 44"/>
                <a:gd name="T67" fmla="*/ 48 h 50"/>
                <a:gd name="T68" fmla="*/ 39 w 44"/>
                <a:gd name="T69" fmla="*/ 50 h 50"/>
                <a:gd name="T70" fmla="*/ 44 w 44"/>
                <a:gd name="T71" fmla="*/ 49 h 50"/>
                <a:gd name="T72" fmla="*/ 44 w 44"/>
                <a:gd name="T73" fmla="*/ 43 h 50"/>
                <a:gd name="T74" fmla="*/ 42 w 44"/>
                <a:gd name="T75" fmla="*/ 43 h 50"/>
                <a:gd name="T76" fmla="*/ 40 w 44"/>
                <a:gd name="T77" fmla="*/ 42 h 50"/>
                <a:gd name="T78" fmla="*/ 32 w 44"/>
                <a:gd name="T79" fmla="*/ 32 h 50"/>
                <a:gd name="T80" fmla="*/ 31 w 44"/>
                <a:gd name="T81" fmla="*/ 36 h 50"/>
                <a:gd name="T82" fmla="*/ 29 w 44"/>
                <a:gd name="T83" fmla="*/ 40 h 50"/>
                <a:gd name="T84" fmla="*/ 24 w 44"/>
                <a:gd name="T85" fmla="*/ 42 h 50"/>
                <a:gd name="T86" fmla="*/ 17 w 44"/>
                <a:gd name="T87" fmla="*/ 43 h 50"/>
                <a:gd name="T88" fmla="*/ 14 w 44"/>
                <a:gd name="T89" fmla="*/ 43 h 50"/>
                <a:gd name="T90" fmla="*/ 11 w 44"/>
                <a:gd name="T91" fmla="*/ 42 h 50"/>
                <a:gd name="T92" fmla="*/ 9 w 44"/>
                <a:gd name="T93" fmla="*/ 40 h 50"/>
                <a:gd name="T94" fmla="*/ 8 w 44"/>
                <a:gd name="T95" fmla="*/ 36 h 50"/>
                <a:gd name="T96" fmla="*/ 9 w 44"/>
                <a:gd name="T97" fmla="*/ 31 h 50"/>
                <a:gd name="T98" fmla="*/ 13 w 44"/>
                <a:gd name="T99" fmla="*/ 29 h 50"/>
                <a:gd name="T100" fmla="*/ 18 w 44"/>
                <a:gd name="T101" fmla="*/ 27 h 50"/>
                <a:gd name="T102" fmla="*/ 23 w 44"/>
                <a:gd name="T103" fmla="*/ 27 h 50"/>
                <a:gd name="T104" fmla="*/ 28 w 44"/>
                <a:gd name="T105" fmla="*/ 26 h 50"/>
                <a:gd name="T106" fmla="*/ 32 w 44"/>
                <a:gd name="T107" fmla="*/ 24 h 50"/>
                <a:gd name="T108" fmla="*/ 32 w 44"/>
                <a:gd name="T109" fmla="*/ 24 h 50"/>
                <a:gd name="T110" fmla="*/ 32 w 44"/>
                <a:gd name="T111" fmla="*/ 3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4" h="50">
                  <a:moveTo>
                    <a:pt x="40" y="42"/>
                  </a:moveTo>
                  <a:cubicBezTo>
                    <a:pt x="40" y="41"/>
                    <a:pt x="40" y="40"/>
                    <a:pt x="40" y="38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0"/>
                    <a:pt x="39" y="8"/>
                    <a:pt x="38" y="7"/>
                  </a:cubicBezTo>
                  <a:cubicBezTo>
                    <a:pt x="37" y="5"/>
                    <a:pt x="36" y="4"/>
                    <a:pt x="34" y="3"/>
                  </a:cubicBezTo>
                  <a:cubicBezTo>
                    <a:pt x="32" y="2"/>
                    <a:pt x="30" y="1"/>
                    <a:pt x="28" y="1"/>
                  </a:cubicBezTo>
                  <a:cubicBezTo>
                    <a:pt x="23" y="0"/>
                    <a:pt x="19" y="0"/>
                    <a:pt x="14" y="1"/>
                  </a:cubicBezTo>
                  <a:cubicBezTo>
                    <a:pt x="12" y="2"/>
                    <a:pt x="10" y="3"/>
                    <a:pt x="8" y="4"/>
                  </a:cubicBezTo>
                  <a:cubicBezTo>
                    <a:pt x="6" y="5"/>
                    <a:pt x="5" y="7"/>
                    <a:pt x="4" y="9"/>
                  </a:cubicBezTo>
                  <a:cubicBezTo>
                    <a:pt x="3" y="11"/>
                    <a:pt x="2" y="13"/>
                    <a:pt x="2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2"/>
                    <a:pt x="11" y="10"/>
                    <a:pt x="13" y="9"/>
                  </a:cubicBezTo>
                  <a:cubicBezTo>
                    <a:pt x="15" y="7"/>
                    <a:pt x="18" y="7"/>
                    <a:pt x="21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26" y="7"/>
                    <a:pt x="28" y="8"/>
                    <a:pt x="29" y="8"/>
                  </a:cubicBezTo>
                  <a:cubicBezTo>
                    <a:pt x="30" y="9"/>
                    <a:pt x="31" y="10"/>
                    <a:pt x="31" y="11"/>
                  </a:cubicBezTo>
                  <a:cubicBezTo>
                    <a:pt x="32" y="12"/>
                    <a:pt x="32" y="13"/>
                    <a:pt x="32" y="15"/>
                  </a:cubicBezTo>
                  <a:cubicBezTo>
                    <a:pt x="32" y="16"/>
                    <a:pt x="32" y="18"/>
                    <a:pt x="31" y="19"/>
                  </a:cubicBezTo>
                  <a:cubicBezTo>
                    <a:pt x="30" y="19"/>
                    <a:pt x="29" y="20"/>
                    <a:pt x="27" y="20"/>
                  </a:cubicBezTo>
                  <a:cubicBezTo>
                    <a:pt x="26" y="21"/>
                    <a:pt x="24" y="21"/>
                    <a:pt x="22" y="21"/>
                  </a:cubicBezTo>
                  <a:cubicBezTo>
                    <a:pt x="20" y="21"/>
                    <a:pt x="18" y="22"/>
                    <a:pt x="16" y="22"/>
                  </a:cubicBezTo>
                  <a:cubicBezTo>
                    <a:pt x="14" y="23"/>
                    <a:pt x="12" y="23"/>
                    <a:pt x="10" y="24"/>
                  </a:cubicBezTo>
                  <a:cubicBezTo>
                    <a:pt x="8" y="24"/>
                    <a:pt x="6" y="25"/>
                    <a:pt x="5" y="26"/>
                  </a:cubicBezTo>
                  <a:cubicBezTo>
                    <a:pt x="3" y="27"/>
                    <a:pt x="2" y="28"/>
                    <a:pt x="1" y="30"/>
                  </a:cubicBezTo>
                  <a:cubicBezTo>
                    <a:pt x="0" y="32"/>
                    <a:pt x="0" y="34"/>
                    <a:pt x="0" y="37"/>
                  </a:cubicBezTo>
                  <a:cubicBezTo>
                    <a:pt x="0" y="39"/>
                    <a:pt x="0" y="41"/>
                    <a:pt x="1" y="43"/>
                  </a:cubicBezTo>
                  <a:cubicBezTo>
                    <a:pt x="2" y="44"/>
                    <a:pt x="3" y="46"/>
                    <a:pt x="4" y="47"/>
                  </a:cubicBezTo>
                  <a:cubicBezTo>
                    <a:pt x="6" y="48"/>
                    <a:pt x="8" y="49"/>
                    <a:pt x="9" y="49"/>
                  </a:cubicBezTo>
                  <a:cubicBezTo>
                    <a:pt x="11" y="50"/>
                    <a:pt x="13" y="50"/>
                    <a:pt x="15" y="50"/>
                  </a:cubicBezTo>
                  <a:cubicBezTo>
                    <a:pt x="19" y="50"/>
                    <a:pt x="22" y="49"/>
                    <a:pt x="25" y="48"/>
                  </a:cubicBezTo>
                  <a:cubicBezTo>
                    <a:pt x="28" y="47"/>
                    <a:pt x="30" y="45"/>
                    <a:pt x="32" y="43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5"/>
                    <a:pt x="33" y="47"/>
                    <a:pt x="34" y="48"/>
                  </a:cubicBezTo>
                  <a:cubicBezTo>
                    <a:pt x="35" y="49"/>
                    <a:pt x="37" y="50"/>
                    <a:pt x="39" y="50"/>
                  </a:cubicBezTo>
                  <a:cubicBezTo>
                    <a:pt x="41" y="50"/>
                    <a:pt x="43" y="49"/>
                    <a:pt x="44" y="49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3" y="43"/>
                    <a:pt x="42" y="43"/>
                  </a:cubicBezTo>
                  <a:cubicBezTo>
                    <a:pt x="41" y="43"/>
                    <a:pt x="40" y="43"/>
                    <a:pt x="40" y="42"/>
                  </a:cubicBezTo>
                  <a:moveTo>
                    <a:pt x="32" y="32"/>
                  </a:moveTo>
                  <a:cubicBezTo>
                    <a:pt x="32" y="34"/>
                    <a:pt x="32" y="35"/>
                    <a:pt x="31" y="36"/>
                  </a:cubicBezTo>
                  <a:cubicBezTo>
                    <a:pt x="31" y="37"/>
                    <a:pt x="30" y="39"/>
                    <a:pt x="29" y="40"/>
                  </a:cubicBezTo>
                  <a:cubicBezTo>
                    <a:pt x="27" y="41"/>
                    <a:pt x="26" y="42"/>
                    <a:pt x="24" y="42"/>
                  </a:cubicBezTo>
                  <a:cubicBezTo>
                    <a:pt x="22" y="43"/>
                    <a:pt x="20" y="43"/>
                    <a:pt x="17" y="43"/>
                  </a:cubicBezTo>
                  <a:cubicBezTo>
                    <a:pt x="16" y="43"/>
                    <a:pt x="15" y="43"/>
                    <a:pt x="14" y="43"/>
                  </a:cubicBezTo>
                  <a:cubicBezTo>
                    <a:pt x="13" y="43"/>
                    <a:pt x="12" y="42"/>
                    <a:pt x="11" y="42"/>
                  </a:cubicBezTo>
                  <a:cubicBezTo>
                    <a:pt x="10" y="41"/>
                    <a:pt x="9" y="41"/>
                    <a:pt x="9" y="40"/>
                  </a:cubicBezTo>
                  <a:cubicBezTo>
                    <a:pt x="8" y="39"/>
                    <a:pt x="8" y="38"/>
                    <a:pt x="8" y="36"/>
                  </a:cubicBezTo>
                  <a:cubicBezTo>
                    <a:pt x="8" y="34"/>
                    <a:pt x="8" y="33"/>
                    <a:pt x="9" y="31"/>
                  </a:cubicBezTo>
                  <a:cubicBezTo>
                    <a:pt x="10" y="30"/>
                    <a:pt x="11" y="29"/>
                    <a:pt x="13" y="29"/>
                  </a:cubicBezTo>
                  <a:cubicBezTo>
                    <a:pt x="14" y="28"/>
                    <a:pt x="16" y="28"/>
                    <a:pt x="18" y="27"/>
                  </a:cubicBezTo>
                  <a:cubicBezTo>
                    <a:pt x="19" y="27"/>
                    <a:pt x="21" y="27"/>
                    <a:pt x="23" y="27"/>
                  </a:cubicBezTo>
                  <a:cubicBezTo>
                    <a:pt x="25" y="26"/>
                    <a:pt x="26" y="26"/>
                    <a:pt x="28" y="26"/>
                  </a:cubicBezTo>
                  <a:cubicBezTo>
                    <a:pt x="30" y="25"/>
                    <a:pt x="31" y="25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lnTo>
                    <a:pt x="32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1"/>
            <p:cNvSpPr>
              <a:spLocks noEditPoints="1"/>
            </p:cNvSpPr>
            <p:nvPr userDrawn="1"/>
          </p:nvSpPr>
          <p:spPr bwMode="auto">
            <a:xfrm>
              <a:off x="3064314" y="4884640"/>
              <a:ext cx="58318" cy="66559"/>
            </a:xfrm>
            <a:custGeom>
              <a:avLst/>
              <a:gdLst>
                <a:gd name="T0" fmla="*/ 39 w 44"/>
                <a:gd name="T1" fmla="*/ 10 h 50"/>
                <a:gd name="T2" fmla="*/ 32 w 44"/>
                <a:gd name="T3" fmla="*/ 3 h 50"/>
                <a:gd name="T4" fmla="*/ 22 w 44"/>
                <a:gd name="T5" fmla="*/ 0 h 50"/>
                <a:gd name="T6" fmla="*/ 13 w 44"/>
                <a:gd name="T7" fmla="*/ 2 h 50"/>
                <a:gd name="T8" fmla="*/ 6 w 44"/>
                <a:gd name="T9" fmla="*/ 7 h 50"/>
                <a:gd name="T10" fmla="*/ 1 w 44"/>
                <a:gd name="T11" fmla="*/ 15 h 50"/>
                <a:gd name="T12" fmla="*/ 0 w 44"/>
                <a:gd name="T13" fmla="*/ 25 h 50"/>
                <a:gd name="T14" fmla="*/ 1 w 44"/>
                <a:gd name="T15" fmla="*/ 35 h 50"/>
                <a:gd name="T16" fmla="*/ 6 w 44"/>
                <a:gd name="T17" fmla="*/ 43 h 50"/>
                <a:gd name="T18" fmla="*/ 13 w 44"/>
                <a:gd name="T19" fmla="*/ 48 h 50"/>
                <a:gd name="T20" fmla="*/ 22 w 44"/>
                <a:gd name="T21" fmla="*/ 50 h 50"/>
                <a:gd name="T22" fmla="*/ 36 w 44"/>
                <a:gd name="T23" fmla="*/ 46 h 50"/>
                <a:gd name="T24" fmla="*/ 43 w 44"/>
                <a:gd name="T25" fmla="*/ 34 h 50"/>
                <a:gd name="T26" fmla="*/ 35 w 44"/>
                <a:gd name="T27" fmla="*/ 34 h 50"/>
                <a:gd name="T28" fmla="*/ 31 w 44"/>
                <a:gd name="T29" fmla="*/ 41 h 50"/>
                <a:gd name="T30" fmla="*/ 23 w 44"/>
                <a:gd name="T31" fmla="*/ 43 h 50"/>
                <a:gd name="T32" fmla="*/ 16 w 44"/>
                <a:gd name="T33" fmla="*/ 42 h 50"/>
                <a:gd name="T34" fmla="*/ 11 w 44"/>
                <a:gd name="T35" fmla="*/ 39 h 50"/>
                <a:gd name="T36" fmla="*/ 8 w 44"/>
                <a:gd name="T37" fmla="*/ 34 h 50"/>
                <a:gd name="T38" fmla="*/ 8 w 44"/>
                <a:gd name="T39" fmla="*/ 27 h 50"/>
                <a:gd name="T40" fmla="*/ 8 w 44"/>
                <a:gd name="T41" fmla="*/ 27 h 50"/>
                <a:gd name="T42" fmla="*/ 43 w 44"/>
                <a:gd name="T43" fmla="*/ 27 h 50"/>
                <a:gd name="T44" fmla="*/ 43 w 44"/>
                <a:gd name="T45" fmla="*/ 18 h 50"/>
                <a:gd name="T46" fmla="*/ 39 w 44"/>
                <a:gd name="T47" fmla="*/ 10 h 50"/>
                <a:gd name="T48" fmla="*/ 8 w 44"/>
                <a:gd name="T49" fmla="*/ 21 h 50"/>
                <a:gd name="T50" fmla="*/ 8 w 44"/>
                <a:gd name="T51" fmla="*/ 20 h 50"/>
                <a:gd name="T52" fmla="*/ 9 w 44"/>
                <a:gd name="T53" fmla="*/ 15 h 50"/>
                <a:gd name="T54" fmla="*/ 12 w 44"/>
                <a:gd name="T55" fmla="*/ 11 h 50"/>
                <a:gd name="T56" fmla="*/ 16 w 44"/>
                <a:gd name="T57" fmla="*/ 8 h 50"/>
                <a:gd name="T58" fmla="*/ 22 w 44"/>
                <a:gd name="T59" fmla="*/ 7 h 50"/>
                <a:gd name="T60" fmla="*/ 27 w 44"/>
                <a:gd name="T61" fmla="*/ 8 h 50"/>
                <a:gd name="T62" fmla="*/ 32 w 44"/>
                <a:gd name="T63" fmla="*/ 11 h 50"/>
                <a:gd name="T64" fmla="*/ 34 w 44"/>
                <a:gd name="T65" fmla="*/ 15 h 50"/>
                <a:gd name="T66" fmla="*/ 36 w 44"/>
                <a:gd name="T67" fmla="*/ 20 h 50"/>
                <a:gd name="T68" fmla="*/ 36 w 44"/>
                <a:gd name="T69" fmla="*/ 21 h 50"/>
                <a:gd name="T70" fmla="*/ 8 w 44"/>
                <a:gd name="T71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" h="50">
                  <a:moveTo>
                    <a:pt x="39" y="10"/>
                  </a:moveTo>
                  <a:cubicBezTo>
                    <a:pt x="37" y="7"/>
                    <a:pt x="35" y="5"/>
                    <a:pt x="32" y="3"/>
                  </a:cubicBezTo>
                  <a:cubicBezTo>
                    <a:pt x="30" y="1"/>
                    <a:pt x="26" y="0"/>
                    <a:pt x="22" y="0"/>
                  </a:cubicBezTo>
                  <a:cubicBezTo>
                    <a:pt x="19" y="0"/>
                    <a:pt x="16" y="1"/>
                    <a:pt x="13" y="2"/>
                  </a:cubicBezTo>
                  <a:cubicBezTo>
                    <a:pt x="10" y="3"/>
                    <a:pt x="8" y="5"/>
                    <a:pt x="6" y="7"/>
                  </a:cubicBezTo>
                  <a:cubicBezTo>
                    <a:pt x="4" y="9"/>
                    <a:pt x="2" y="12"/>
                    <a:pt x="1" y="15"/>
                  </a:cubicBezTo>
                  <a:cubicBezTo>
                    <a:pt x="0" y="18"/>
                    <a:pt x="0" y="21"/>
                    <a:pt x="0" y="25"/>
                  </a:cubicBezTo>
                  <a:cubicBezTo>
                    <a:pt x="0" y="29"/>
                    <a:pt x="0" y="32"/>
                    <a:pt x="1" y="35"/>
                  </a:cubicBezTo>
                  <a:cubicBezTo>
                    <a:pt x="2" y="38"/>
                    <a:pt x="4" y="41"/>
                    <a:pt x="6" y="43"/>
                  </a:cubicBezTo>
                  <a:cubicBezTo>
                    <a:pt x="7" y="45"/>
                    <a:pt x="10" y="47"/>
                    <a:pt x="13" y="48"/>
                  </a:cubicBezTo>
                  <a:cubicBezTo>
                    <a:pt x="15" y="49"/>
                    <a:pt x="19" y="50"/>
                    <a:pt x="22" y="50"/>
                  </a:cubicBezTo>
                  <a:cubicBezTo>
                    <a:pt x="28" y="50"/>
                    <a:pt x="32" y="48"/>
                    <a:pt x="36" y="46"/>
                  </a:cubicBezTo>
                  <a:cubicBezTo>
                    <a:pt x="39" y="43"/>
                    <a:pt x="42" y="39"/>
                    <a:pt x="43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7"/>
                    <a:pt x="33" y="40"/>
                    <a:pt x="31" y="41"/>
                  </a:cubicBezTo>
                  <a:cubicBezTo>
                    <a:pt x="29" y="43"/>
                    <a:pt x="26" y="43"/>
                    <a:pt x="23" y="43"/>
                  </a:cubicBezTo>
                  <a:cubicBezTo>
                    <a:pt x="20" y="43"/>
                    <a:pt x="18" y="43"/>
                    <a:pt x="16" y="42"/>
                  </a:cubicBezTo>
                  <a:cubicBezTo>
                    <a:pt x="14" y="41"/>
                    <a:pt x="12" y="40"/>
                    <a:pt x="11" y="39"/>
                  </a:cubicBezTo>
                  <a:cubicBezTo>
                    <a:pt x="10" y="37"/>
                    <a:pt x="9" y="35"/>
                    <a:pt x="8" y="34"/>
                  </a:cubicBezTo>
                  <a:cubicBezTo>
                    <a:pt x="8" y="32"/>
                    <a:pt x="7" y="30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4" y="24"/>
                    <a:pt x="43" y="21"/>
                    <a:pt x="43" y="18"/>
                  </a:cubicBezTo>
                  <a:cubicBezTo>
                    <a:pt x="42" y="15"/>
                    <a:pt x="41" y="12"/>
                    <a:pt x="39" y="10"/>
                  </a:cubicBezTo>
                  <a:moveTo>
                    <a:pt x="8" y="21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8" y="19"/>
                    <a:pt x="8" y="17"/>
                    <a:pt x="9" y="15"/>
                  </a:cubicBezTo>
                  <a:cubicBezTo>
                    <a:pt x="10" y="14"/>
                    <a:pt x="11" y="12"/>
                    <a:pt x="12" y="11"/>
                  </a:cubicBezTo>
                  <a:cubicBezTo>
                    <a:pt x="13" y="10"/>
                    <a:pt x="14" y="9"/>
                    <a:pt x="16" y="8"/>
                  </a:cubicBezTo>
                  <a:cubicBezTo>
                    <a:pt x="18" y="7"/>
                    <a:pt x="20" y="7"/>
                    <a:pt x="22" y="7"/>
                  </a:cubicBezTo>
                  <a:cubicBezTo>
                    <a:pt x="24" y="7"/>
                    <a:pt x="26" y="7"/>
                    <a:pt x="27" y="8"/>
                  </a:cubicBezTo>
                  <a:cubicBezTo>
                    <a:pt x="29" y="9"/>
                    <a:pt x="30" y="10"/>
                    <a:pt x="32" y="11"/>
                  </a:cubicBezTo>
                  <a:cubicBezTo>
                    <a:pt x="33" y="12"/>
                    <a:pt x="34" y="13"/>
                    <a:pt x="34" y="15"/>
                  </a:cubicBezTo>
                  <a:cubicBezTo>
                    <a:pt x="35" y="17"/>
                    <a:pt x="36" y="19"/>
                    <a:pt x="36" y="20"/>
                  </a:cubicBezTo>
                  <a:cubicBezTo>
                    <a:pt x="36" y="21"/>
                    <a:pt x="36" y="21"/>
                    <a:pt x="36" y="21"/>
                  </a:cubicBezTo>
                  <a:lnTo>
                    <a:pt x="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2"/>
            <p:cNvSpPr>
              <a:spLocks/>
            </p:cNvSpPr>
            <p:nvPr userDrawn="1"/>
          </p:nvSpPr>
          <p:spPr bwMode="auto">
            <a:xfrm>
              <a:off x="3166371" y="4884640"/>
              <a:ext cx="57050" cy="66559"/>
            </a:xfrm>
            <a:custGeom>
              <a:avLst/>
              <a:gdLst>
                <a:gd name="T0" fmla="*/ 22 w 43"/>
                <a:gd name="T1" fmla="*/ 43 h 50"/>
                <a:gd name="T2" fmla="*/ 15 w 43"/>
                <a:gd name="T3" fmla="*/ 42 h 50"/>
                <a:gd name="T4" fmla="*/ 11 w 43"/>
                <a:gd name="T5" fmla="*/ 38 h 50"/>
                <a:gd name="T6" fmla="*/ 8 w 43"/>
                <a:gd name="T7" fmla="*/ 32 h 50"/>
                <a:gd name="T8" fmla="*/ 8 w 43"/>
                <a:gd name="T9" fmla="*/ 26 h 50"/>
                <a:gd name="T10" fmla="*/ 8 w 43"/>
                <a:gd name="T11" fmla="*/ 19 h 50"/>
                <a:gd name="T12" fmla="*/ 11 w 43"/>
                <a:gd name="T13" fmla="*/ 13 h 50"/>
                <a:gd name="T14" fmla="*/ 16 w 43"/>
                <a:gd name="T15" fmla="*/ 8 h 50"/>
                <a:gd name="T16" fmla="*/ 23 w 43"/>
                <a:gd name="T17" fmla="*/ 7 h 50"/>
                <a:gd name="T18" fmla="*/ 31 w 43"/>
                <a:gd name="T19" fmla="*/ 9 h 50"/>
                <a:gd name="T20" fmla="*/ 35 w 43"/>
                <a:gd name="T21" fmla="*/ 16 h 50"/>
                <a:gd name="T22" fmla="*/ 43 w 43"/>
                <a:gd name="T23" fmla="*/ 16 h 50"/>
                <a:gd name="T24" fmla="*/ 40 w 43"/>
                <a:gd name="T25" fmla="*/ 9 h 50"/>
                <a:gd name="T26" fmla="*/ 36 w 43"/>
                <a:gd name="T27" fmla="*/ 4 h 50"/>
                <a:gd name="T28" fmla="*/ 30 w 43"/>
                <a:gd name="T29" fmla="*/ 1 h 50"/>
                <a:gd name="T30" fmla="*/ 22 w 43"/>
                <a:gd name="T31" fmla="*/ 0 h 50"/>
                <a:gd name="T32" fmla="*/ 12 w 43"/>
                <a:gd name="T33" fmla="*/ 2 h 50"/>
                <a:gd name="T34" fmla="*/ 5 w 43"/>
                <a:gd name="T35" fmla="*/ 8 h 50"/>
                <a:gd name="T36" fmla="*/ 1 w 43"/>
                <a:gd name="T37" fmla="*/ 16 h 50"/>
                <a:gd name="T38" fmla="*/ 0 w 43"/>
                <a:gd name="T39" fmla="*/ 26 h 50"/>
                <a:gd name="T40" fmla="*/ 1 w 43"/>
                <a:gd name="T41" fmla="*/ 35 h 50"/>
                <a:gd name="T42" fmla="*/ 5 w 43"/>
                <a:gd name="T43" fmla="*/ 43 h 50"/>
                <a:gd name="T44" fmla="*/ 12 w 43"/>
                <a:gd name="T45" fmla="*/ 48 h 50"/>
                <a:gd name="T46" fmla="*/ 22 w 43"/>
                <a:gd name="T47" fmla="*/ 50 h 50"/>
                <a:gd name="T48" fmla="*/ 36 w 43"/>
                <a:gd name="T49" fmla="*/ 45 h 50"/>
                <a:gd name="T50" fmla="*/ 43 w 43"/>
                <a:gd name="T51" fmla="*/ 32 h 50"/>
                <a:gd name="T52" fmla="*/ 35 w 43"/>
                <a:gd name="T53" fmla="*/ 32 h 50"/>
                <a:gd name="T54" fmla="*/ 31 w 43"/>
                <a:gd name="T55" fmla="*/ 40 h 50"/>
                <a:gd name="T56" fmla="*/ 22 w 43"/>
                <a:gd name="T57" fmla="*/ 4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3" h="50">
                  <a:moveTo>
                    <a:pt x="22" y="43"/>
                  </a:moveTo>
                  <a:cubicBezTo>
                    <a:pt x="19" y="43"/>
                    <a:pt x="17" y="43"/>
                    <a:pt x="15" y="42"/>
                  </a:cubicBezTo>
                  <a:cubicBezTo>
                    <a:pt x="14" y="41"/>
                    <a:pt x="12" y="40"/>
                    <a:pt x="11" y="38"/>
                  </a:cubicBezTo>
                  <a:cubicBezTo>
                    <a:pt x="10" y="36"/>
                    <a:pt x="9" y="34"/>
                    <a:pt x="8" y="32"/>
                  </a:cubicBezTo>
                  <a:cubicBezTo>
                    <a:pt x="8" y="30"/>
                    <a:pt x="8" y="28"/>
                    <a:pt x="8" y="26"/>
                  </a:cubicBezTo>
                  <a:cubicBezTo>
                    <a:pt x="8" y="23"/>
                    <a:pt x="8" y="21"/>
                    <a:pt x="8" y="19"/>
                  </a:cubicBezTo>
                  <a:cubicBezTo>
                    <a:pt x="9" y="16"/>
                    <a:pt x="10" y="14"/>
                    <a:pt x="11" y="13"/>
                  </a:cubicBezTo>
                  <a:cubicBezTo>
                    <a:pt x="12" y="11"/>
                    <a:pt x="14" y="9"/>
                    <a:pt x="16" y="8"/>
                  </a:cubicBezTo>
                  <a:cubicBezTo>
                    <a:pt x="18" y="7"/>
                    <a:pt x="20" y="7"/>
                    <a:pt x="23" y="7"/>
                  </a:cubicBezTo>
                  <a:cubicBezTo>
                    <a:pt x="26" y="7"/>
                    <a:pt x="29" y="8"/>
                    <a:pt x="31" y="9"/>
                  </a:cubicBezTo>
                  <a:cubicBezTo>
                    <a:pt x="33" y="11"/>
                    <a:pt x="34" y="13"/>
                    <a:pt x="35" y="16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2" y="14"/>
                    <a:pt x="42" y="11"/>
                    <a:pt x="40" y="9"/>
                  </a:cubicBezTo>
                  <a:cubicBezTo>
                    <a:pt x="39" y="7"/>
                    <a:pt x="38" y="6"/>
                    <a:pt x="36" y="4"/>
                  </a:cubicBezTo>
                  <a:cubicBezTo>
                    <a:pt x="34" y="3"/>
                    <a:pt x="32" y="2"/>
                    <a:pt x="30" y="1"/>
                  </a:cubicBezTo>
                  <a:cubicBezTo>
                    <a:pt x="27" y="1"/>
                    <a:pt x="25" y="0"/>
                    <a:pt x="22" y="0"/>
                  </a:cubicBezTo>
                  <a:cubicBezTo>
                    <a:pt x="18" y="0"/>
                    <a:pt x="15" y="1"/>
                    <a:pt x="12" y="2"/>
                  </a:cubicBezTo>
                  <a:cubicBezTo>
                    <a:pt x="10" y="4"/>
                    <a:pt x="7" y="5"/>
                    <a:pt x="5" y="8"/>
                  </a:cubicBezTo>
                  <a:cubicBezTo>
                    <a:pt x="4" y="10"/>
                    <a:pt x="2" y="13"/>
                    <a:pt x="1" y="16"/>
                  </a:cubicBezTo>
                  <a:cubicBezTo>
                    <a:pt x="0" y="19"/>
                    <a:pt x="0" y="22"/>
                    <a:pt x="0" y="26"/>
                  </a:cubicBezTo>
                  <a:cubicBezTo>
                    <a:pt x="0" y="29"/>
                    <a:pt x="0" y="33"/>
                    <a:pt x="1" y="35"/>
                  </a:cubicBezTo>
                  <a:cubicBezTo>
                    <a:pt x="2" y="38"/>
                    <a:pt x="4" y="41"/>
                    <a:pt x="5" y="43"/>
                  </a:cubicBezTo>
                  <a:cubicBezTo>
                    <a:pt x="7" y="45"/>
                    <a:pt x="10" y="47"/>
                    <a:pt x="12" y="48"/>
                  </a:cubicBezTo>
                  <a:cubicBezTo>
                    <a:pt x="15" y="49"/>
                    <a:pt x="18" y="50"/>
                    <a:pt x="22" y="50"/>
                  </a:cubicBezTo>
                  <a:cubicBezTo>
                    <a:pt x="28" y="50"/>
                    <a:pt x="33" y="48"/>
                    <a:pt x="36" y="45"/>
                  </a:cubicBezTo>
                  <a:cubicBezTo>
                    <a:pt x="40" y="42"/>
                    <a:pt x="42" y="38"/>
                    <a:pt x="43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5"/>
                    <a:pt x="33" y="38"/>
                    <a:pt x="31" y="40"/>
                  </a:cubicBezTo>
                  <a:cubicBezTo>
                    <a:pt x="29" y="42"/>
                    <a:pt x="26" y="43"/>
                    <a:pt x="22" y="4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3"/>
            <p:cNvSpPr>
              <a:spLocks/>
            </p:cNvSpPr>
            <p:nvPr userDrawn="1"/>
          </p:nvSpPr>
          <p:spPr bwMode="auto">
            <a:xfrm>
              <a:off x="3236733" y="4861820"/>
              <a:ext cx="51979" cy="88111"/>
            </a:xfrm>
            <a:custGeom>
              <a:avLst/>
              <a:gdLst>
                <a:gd name="T0" fmla="*/ 35 w 39"/>
                <a:gd name="T1" fmla="*/ 22 h 66"/>
                <a:gd name="T2" fmla="*/ 30 w 39"/>
                <a:gd name="T3" fmla="*/ 19 h 66"/>
                <a:gd name="T4" fmla="*/ 23 w 39"/>
                <a:gd name="T5" fmla="*/ 17 h 66"/>
                <a:gd name="T6" fmla="*/ 18 w 39"/>
                <a:gd name="T7" fmla="*/ 18 h 66"/>
                <a:gd name="T8" fmla="*/ 14 w 39"/>
                <a:gd name="T9" fmla="*/ 19 h 66"/>
                <a:gd name="T10" fmla="*/ 10 w 39"/>
                <a:gd name="T11" fmla="*/ 22 h 66"/>
                <a:gd name="T12" fmla="*/ 7 w 39"/>
                <a:gd name="T13" fmla="*/ 25 h 66"/>
                <a:gd name="T14" fmla="*/ 7 w 39"/>
                <a:gd name="T15" fmla="*/ 25 h 66"/>
                <a:gd name="T16" fmla="*/ 7 w 39"/>
                <a:gd name="T17" fmla="*/ 25 h 66"/>
                <a:gd name="T18" fmla="*/ 7 w 39"/>
                <a:gd name="T19" fmla="*/ 0 h 66"/>
                <a:gd name="T20" fmla="*/ 0 w 39"/>
                <a:gd name="T21" fmla="*/ 0 h 66"/>
                <a:gd name="T22" fmla="*/ 0 w 39"/>
                <a:gd name="T23" fmla="*/ 66 h 66"/>
                <a:gd name="T24" fmla="*/ 7 w 39"/>
                <a:gd name="T25" fmla="*/ 66 h 66"/>
                <a:gd name="T26" fmla="*/ 7 w 39"/>
                <a:gd name="T27" fmla="*/ 39 h 66"/>
                <a:gd name="T28" fmla="*/ 8 w 39"/>
                <a:gd name="T29" fmla="*/ 33 h 66"/>
                <a:gd name="T30" fmla="*/ 11 w 39"/>
                <a:gd name="T31" fmla="*/ 28 h 66"/>
                <a:gd name="T32" fmla="*/ 15 w 39"/>
                <a:gd name="T33" fmla="*/ 25 h 66"/>
                <a:gd name="T34" fmla="*/ 21 w 39"/>
                <a:gd name="T35" fmla="*/ 24 h 66"/>
                <a:gd name="T36" fmla="*/ 29 w 39"/>
                <a:gd name="T37" fmla="*/ 26 h 66"/>
                <a:gd name="T38" fmla="*/ 31 w 39"/>
                <a:gd name="T39" fmla="*/ 34 h 66"/>
                <a:gd name="T40" fmla="*/ 31 w 39"/>
                <a:gd name="T41" fmla="*/ 66 h 66"/>
                <a:gd name="T42" fmla="*/ 39 w 39"/>
                <a:gd name="T43" fmla="*/ 66 h 66"/>
                <a:gd name="T44" fmla="*/ 39 w 39"/>
                <a:gd name="T45" fmla="*/ 35 h 66"/>
                <a:gd name="T46" fmla="*/ 38 w 39"/>
                <a:gd name="T47" fmla="*/ 28 h 66"/>
                <a:gd name="T48" fmla="*/ 35 w 39"/>
                <a:gd name="T49" fmla="*/ 2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9" h="66">
                  <a:moveTo>
                    <a:pt x="35" y="22"/>
                  </a:moveTo>
                  <a:cubicBezTo>
                    <a:pt x="34" y="21"/>
                    <a:pt x="32" y="19"/>
                    <a:pt x="30" y="19"/>
                  </a:cubicBezTo>
                  <a:cubicBezTo>
                    <a:pt x="28" y="18"/>
                    <a:pt x="26" y="17"/>
                    <a:pt x="23" y="17"/>
                  </a:cubicBezTo>
                  <a:cubicBezTo>
                    <a:pt x="21" y="17"/>
                    <a:pt x="20" y="17"/>
                    <a:pt x="18" y="18"/>
                  </a:cubicBezTo>
                  <a:cubicBezTo>
                    <a:pt x="17" y="18"/>
                    <a:pt x="15" y="19"/>
                    <a:pt x="14" y="19"/>
                  </a:cubicBezTo>
                  <a:cubicBezTo>
                    <a:pt x="13" y="20"/>
                    <a:pt x="11" y="21"/>
                    <a:pt x="10" y="22"/>
                  </a:cubicBezTo>
                  <a:cubicBezTo>
                    <a:pt x="9" y="23"/>
                    <a:pt x="8" y="24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7"/>
                    <a:pt x="7" y="35"/>
                    <a:pt x="8" y="33"/>
                  </a:cubicBezTo>
                  <a:cubicBezTo>
                    <a:pt x="8" y="31"/>
                    <a:pt x="9" y="29"/>
                    <a:pt x="11" y="28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7" y="24"/>
                    <a:pt x="19" y="24"/>
                    <a:pt x="21" y="24"/>
                  </a:cubicBezTo>
                  <a:cubicBezTo>
                    <a:pt x="25" y="24"/>
                    <a:pt x="27" y="25"/>
                    <a:pt x="29" y="26"/>
                  </a:cubicBezTo>
                  <a:cubicBezTo>
                    <a:pt x="31" y="28"/>
                    <a:pt x="31" y="31"/>
                    <a:pt x="31" y="34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9" y="66"/>
                    <a:pt x="39" y="66"/>
                    <a:pt x="39" y="66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39" y="32"/>
                    <a:pt x="39" y="30"/>
                    <a:pt x="38" y="28"/>
                  </a:cubicBezTo>
                  <a:cubicBezTo>
                    <a:pt x="38" y="25"/>
                    <a:pt x="37" y="24"/>
                    <a:pt x="35" y="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4"/>
            <p:cNvSpPr>
              <a:spLocks noEditPoints="1"/>
            </p:cNvSpPr>
            <p:nvPr userDrawn="1"/>
          </p:nvSpPr>
          <p:spPr bwMode="auto">
            <a:xfrm>
              <a:off x="3302024" y="4884640"/>
              <a:ext cx="58318" cy="66559"/>
            </a:xfrm>
            <a:custGeom>
              <a:avLst/>
              <a:gdLst>
                <a:gd name="T0" fmla="*/ 39 w 44"/>
                <a:gd name="T1" fmla="*/ 10 h 50"/>
                <a:gd name="T2" fmla="*/ 33 w 44"/>
                <a:gd name="T3" fmla="*/ 3 h 50"/>
                <a:gd name="T4" fmla="*/ 22 w 44"/>
                <a:gd name="T5" fmla="*/ 0 h 50"/>
                <a:gd name="T6" fmla="*/ 13 w 44"/>
                <a:gd name="T7" fmla="*/ 2 h 50"/>
                <a:gd name="T8" fmla="*/ 6 w 44"/>
                <a:gd name="T9" fmla="*/ 7 h 50"/>
                <a:gd name="T10" fmla="*/ 1 w 44"/>
                <a:gd name="T11" fmla="*/ 15 h 50"/>
                <a:gd name="T12" fmla="*/ 0 w 44"/>
                <a:gd name="T13" fmla="*/ 25 h 50"/>
                <a:gd name="T14" fmla="*/ 1 w 44"/>
                <a:gd name="T15" fmla="*/ 35 h 50"/>
                <a:gd name="T16" fmla="*/ 6 w 44"/>
                <a:gd name="T17" fmla="*/ 43 h 50"/>
                <a:gd name="T18" fmla="*/ 13 w 44"/>
                <a:gd name="T19" fmla="*/ 48 h 50"/>
                <a:gd name="T20" fmla="*/ 23 w 44"/>
                <a:gd name="T21" fmla="*/ 50 h 50"/>
                <a:gd name="T22" fmla="*/ 36 w 44"/>
                <a:gd name="T23" fmla="*/ 46 h 50"/>
                <a:gd name="T24" fmla="*/ 43 w 44"/>
                <a:gd name="T25" fmla="*/ 34 h 50"/>
                <a:gd name="T26" fmla="*/ 35 w 44"/>
                <a:gd name="T27" fmla="*/ 34 h 50"/>
                <a:gd name="T28" fmla="*/ 31 w 44"/>
                <a:gd name="T29" fmla="*/ 41 h 50"/>
                <a:gd name="T30" fmla="*/ 23 w 44"/>
                <a:gd name="T31" fmla="*/ 43 h 50"/>
                <a:gd name="T32" fmla="*/ 16 w 44"/>
                <a:gd name="T33" fmla="*/ 42 h 50"/>
                <a:gd name="T34" fmla="*/ 11 w 44"/>
                <a:gd name="T35" fmla="*/ 39 h 50"/>
                <a:gd name="T36" fmla="*/ 8 w 44"/>
                <a:gd name="T37" fmla="*/ 34 h 50"/>
                <a:gd name="T38" fmla="*/ 8 w 44"/>
                <a:gd name="T39" fmla="*/ 27 h 50"/>
                <a:gd name="T40" fmla="*/ 8 w 44"/>
                <a:gd name="T41" fmla="*/ 27 h 50"/>
                <a:gd name="T42" fmla="*/ 44 w 44"/>
                <a:gd name="T43" fmla="*/ 27 h 50"/>
                <a:gd name="T44" fmla="*/ 43 w 44"/>
                <a:gd name="T45" fmla="*/ 18 h 50"/>
                <a:gd name="T46" fmla="*/ 39 w 44"/>
                <a:gd name="T47" fmla="*/ 10 h 50"/>
                <a:gd name="T48" fmla="*/ 8 w 44"/>
                <a:gd name="T49" fmla="*/ 21 h 50"/>
                <a:gd name="T50" fmla="*/ 8 w 44"/>
                <a:gd name="T51" fmla="*/ 20 h 50"/>
                <a:gd name="T52" fmla="*/ 9 w 44"/>
                <a:gd name="T53" fmla="*/ 15 h 50"/>
                <a:gd name="T54" fmla="*/ 12 w 44"/>
                <a:gd name="T55" fmla="*/ 11 h 50"/>
                <a:gd name="T56" fmla="*/ 16 w 44"/>
                <a:gd name="T57" fmla="*/ 8 h 50"/>
                <a:gd name="T58" fmla="*/ 22 w 44"/>
                <a:gd name="T59" fmla="*/ 7 h 50"/>
                <a:gd name="T60" fmla="*/ 27 w 44"/>
                <a:gd name="T61" fmla="*/ 8 h 50"/>
                <a:gd name="T62" fmla="*/ 31 w 44"/>
                <a:gd name="T63" fmla="*/ 11 h 50"/>
                <a:gd name="T64" fmla="*/ 34 w 44"/>
                <a:gd name="T65" fmla="*/ 15 h 50"/>
                <a:gd name="T66" fmla="*/ 36 w 44"/>
                <a:gd name="T67" fmla="*/ 20 h 50"/>
                <a:gd name="T68" fmla="*/ 36 w 44"/>
                <a:gd name="T69" fmla="*/ 21 h 50"/>
                <a:gd name="T70" fmla="*/ 8 w 44"/>
                <a:gd name="T71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" h="50">
                  <a:moveTo>
                    <a:pt x="39" y="10"/>
                  </a:moveTo>
                  <a:cubicBezTo>
                    <a:pt x="38" y="7"/>
                    <a:pt x="35" y="5"/>
                    <a:pt x="33" y="3"/>
                  </a:cubicBezTo>
                  <a:cubicBezTo>
                    <a:pt x="30" y="1"/>
                    <a:pt x="26" y="0"/>
                    <a:pt x="22" y="0"/>
                  </a:cubicBezTo>
                  <a:cubicBezTo>
                    <a:pt x="19" y="0"/>
                    <a:pt x="16" y="1"/>
                    <a:pt x="13" y="2"/>
                  </a:cubicBezTo>
                  <a:cubicBezTo>
                    <a:pt x="10" y="3"/>
                    <a:pt x="8" y="5"/>
                    <a:pt x="6" y="7"/>
                  </a:cubicBezTo>
                  <a:cubicBezTo>
                    <a:pt x="4" y="9"/>
                    <a:pt x="3" y="12"/>
                    <a:pt x="1" y="15"/>
                  </a:cubicBezTo>
                  <a:cubicBezTo>
                    <a:pt x="0" y="18"/>
                    <a:pt x="0" y="21"/>
                    <a:pt x="0" y="25"/>
                  </a:cubicBezTo>
                  <a:cubicBezTo>
                    <a:pt x="0" y="29"/>
                    <a:pt x="0" y="32"/>
                    <a:pt x="1" y="35"/>
                  </a:cubicBezTo>
                  <a:cubicBezTo>
                    <a:pt x="2" y="38"/>
                    <a:pt x="4" y="41"/>
                    <a:pt x="6" y="43"/>
                  </a:cubicBezTo>
                  <a:cubicBezTo>
                    <a:pt x="8" y="45"/>
                    <a:pt x="10" y="47"/>
                    <a:pt x="13" y="48"/>
                  </a:cubicBezTo>
                  <a:cubicBezTo>
                    <a:pt x="15" y="49"/>
                    <a:pt x="19" y="50"/>
                    <a:pt x="23" y="50"/>
                  </a:cubicBezTo>
                  <a:cubicBezTo>
                    <a:pt x="28" y="50"/>
                    <a:pt x="32" y="48"/>
                    <a:pt x="36" y="46"/>
                  </a:cubicBezTo>
                  <a:cubicBezTo>
                    <a:pt x="39" y="43"/>
                    <a:pt x="42" y="39"/>
                    <a:pt x="43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7"/>
                    <a:pt x="33" y="40"/>
                    <a:pt x="31" y="41"/>
                  </a:cubicBezTo>
                  <a:cubicBezTo>
                    <a:pt x="29" y="43"/>
                    <a:pt x="26" y="43"/>
                    <a:pt x="23" y="43"/>
                  </a:cubicBezTo>
                  <a:cubicBezTo>
                    <a:pt x="20" y="43"/>
                    <a:pt x="18" y="43"/>
                    <a:pt x="16" y="42"/>
                  </a:cubicBezTo>
                  <a:cubicBezTo>
                    <a:pt x="14" y="41"/>
                    <a:pt x="12" y="40"/>
                    <a:pt x="11" y="39"/>
                  </a:cubicBezTo>
                  <a:cubicBezTo>
                    <a:pt x="10" y="37"/>
                    <a:pt x="9" y="35"/>
                    <a:pt x="8" y="34"/>
                  </a:cubicBezTo>
                  <a:cubicBezTo>
                    <a:pt x="8" y="32"/>
                    <a:pt x="8" y="30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4"/>
                    <a:pt x="43" y="21"/>
                    <a:pt x="43" y="18"/>
                  </a:cubicBezTo>
                  <a:cubicBezTo>
                    <a:pt x="42" y="15"/>
                    <a:pt x="41" y="12"/>
                    <a:pt x="39" y="10"/>
                  </a:cubicBezTo>
                  <a:moveTo>
                    <a:pt x="8" y="21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8" y="19"/>
                    <a:pt x="8" y="17"/>
                    <a:pt x="9" y="15"/>
                  </a:cubicBezTo>
                  <a:cubicBezTo>
                    <a:pt x="10" y="14"/>
                    <a:pt x="11" y="12"/>
                    <a:pt x="12" y="11"/>
                  </a:cubicBezTo>
                  <a:cubicBezTo>
                    <a:pt x="13" y="10"/>
                    <a:pt x="14" y="9"/>
                    <a:pt x="16" y="8"/>
                  </a:cubicBezTo>
                  <a:cubicBezTo>
                    <a:pt x="18" y="7"/>
                    <a:pt x="20" y="7"/>
                    <a:pt x="22" y="7"/>
                  </a:cubicBezTo>
                  <a:cubicBezTo>
                    <a:pt x="24" y="7"/>
                    <a:pt x="25" y="7"/>
                    <a:pt x="27" y="8"/>
                  </a:cubicBezTo>
                  <a:cubicBezTo>
                    <a:pt x="29" y="9"/>
                    <a:pt x="30" y="10"/>
                    <a:pt x="31" y="11"/>
                  </a:cubicBezTo>
                  <a:cubicBezTo>
                    <a:pt x="33" y="12"/>
                    <a:pt x="34" y="13"/>
                    <a:pt x="34" y="15"/>
                  </a:cubicBezTo>
                  <a:cubicBezTo>
                    <a:pt x="35" y="17"/>
                    <a:pt x="36" y="19"/>
                    <a:pt x="36" y="20"/>
                  </a:cubicBezTo>
                  <a:cubicBezTo>
                    <a:pt x="36" y="21"/>
                    <a:pt x="36" y="21"/>
                    <a:pt x="36" y="21"/>
                  </a:cubicBezTo>
                  <a:lnTo>
                    <a:pt x="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5"/>
            <p:cNvSpPr>
              <a:spLocks/>
            </p:cNvSpPr>
            <p:nvPr userDrawn="1"/>
          </p:nvSpPr>
          <p:spPr bwMode="auto">
            <a:xfrm>
              <a:off x="3372386" y="4884640"/>
              <a:ext cx="89379" cy="65291"/>
            </a:xfrm>
            <a:custGeom>
              <a:avLst/>
              <a:gdLst>
                <a:gd name="T0" fmla="*/ 62 w 67"/>
                <a:gd name="T1" fmla="*/ 3 h 49"/>
                <a:gd name="T2" fmla="*/ 58 w 67"/>
                <a:gd name="T3" fmla="*/ 1 h 49"/>
                <a:gd name="T4" fmla="*/ 51 w 67"/>
                <a:gd name="T5" fmla="*/ 0 h 49"/>
                <a:gd name="T6" fmla="*/ 42 w 67"/>
                <a:gd name="T7" fmla="*/ 2 h 49"/>
                <a:gd name="T8" fmla="*/ 36 w 67"/>
                <a:gd name="T9" fmla="*/ 8 h 49"/>
                <a:gd name="T10" fmla="*/ 36 w 67"/>
                <a:gd name="T11" fmla="*/ 9 h 49"/>
                <a:gd name="T12" fmla="*/ 36 w 67"/>
                <a:gd name="T13" fmla="*/ 8 h 49"/>
                <a:gd name="T14" fmla="*/ 31 w 67"/>
                <a:gd name="T15" fmla="*/ 2 h 49"/>
                <a:gd name="T16" fmla="*/ 23 w 67"/>
                <a:gd name="T17" fmla="*/ 0 h 49"/>
                <a:gd name="T18" fmla="*/ 7 w 67"/>
                <a:gd name="T19" fmla="*/ 8 h 49"/>
                <a:gd name="T20" fmla="*/ 7 w 67"/>
                <a:gd name="T21" fmla="*/ 8 h 49"/>
                <a:gd name="T22" fmla="*/ 7 w 67"/>
                <a:gd name="T23" fmla="*/ 8 h 49"/>
                <a:gd name="T24" fmla="*/ 7 w 67"/>
                <a:gd name="T25" fmla="*/ 1 h 49"/>
                <a:gd name="T26" fmla="*/ 0 w 67"/>
                <a:gd name="T27" fmla="*/ 1 h 49"/>
                <a:gd name="T28" fmla="*/ 0 w 67"/>
                <a:gd name="T29" fmla="*/ 49 h 49"/>
                <a:gd name="T30" fmla="*/ 7 w 67"/>
                <a:gd name="T31" fmla="*/ 49 h 49"/>
                <a:gd name="T32" fmla="*/ 7 w 67"/>
                <a:gd name="T33" fmla="*/ 19 h 49"/>
                <a:gd name="T34" fmla="*/ 8 w 67"/>
                <a:gd name="T35" fmla="*/ 16 h 49"/>
                <a:gd name="T36" fmla="*/ 10 w 67"/>
                <a:gd name="T37" fmla="*/ 12 h 49"/>
                <a:gd name="T38" fmla="*/ 14 w 67"/>
                <a:gd name="T39" fmla="*/ 8 h 49"/>
                <a:gd name="T40" fmla="*/ 20 w 67"/>
                <a:gd name="T41" fmla="*/ 7 h 49"/>
                <a:gd name="T42" fmla="*/ 25 w 67"/>
                <a:gd name="T43" fmla="*/ 8 h 49"/>
                <a:gd name="T44" fmla="*/ 28 w 67"/>
                <a:gd name="T45" fmla="*/ 10 h 49"/>
                <a:gd name="T46" fmla="*/ 29 w 67"/>
                <a:gd name="T47" fmla="*/ 13 h 49"/>
                <a:gd name="T48" fmla="*/ 30 w 67"/>
                <a:gd name="T49" fmla="*/ 18 h 49"/>
                <a:gd name="T50" fmla="*/ 30 w 67"/>
                <a:gd name="T51" fmla="*/ 49 h 49"/>
                <a:gd name="T52" fmla="*/ 37 w 67"/>
                <a:gd name="T53" fmla="*/ 49 h 49"/>
                <a:gd name="T54" fmla="*/ 37 w 67"/>
                <a:gd name="T55" fmla="*/ 19 h 49"/>
                <a:gd name="T56" fmla="*/ 40 w 67"/>
                <a:gd name="T57" fmla="*/ 10 h 49"/>
                <a:gd name="T58" fmla="*/ 50 w 67"/>
                <a:gd name="T59" fmla="*/ 7 h 49"/>
                <a:gd name="T60" fmla="*/ 55 w 67"/>
                <a:gd name="T61" fmla="*/ 8 h 49"/>
                <a:gd name="T62" fmla="*/ 58 w 67"/>
                <a:gd name="T63" fmla="*/ 10 h 49"/>
                <a:gd name="T64" fmla="*/ 59 w 67"/>
                <a:gd name="T65" fmla="*/ 13 h 49"/>
                <a:gd name="T66" fmla="*/ 59 w 67"/>
                <a:gd name="T67" fmla="*/ 18 h 49"/>
                <a:gd name="T68" fmla="*/ 59 w 67"/>
                <a:gd name="T69" fmla="*/ 49 h 49"/>
                <a:gd name="T70" fmla="*/ 67 w 67"/>
                <a:gd name="T71" fmla="*/ 49 h 49"/>
                <a:gd name="T72" fmla="*/ 67 w 67"/>
                <a:gd name="T73" fmla="*/ 14 h 49"/>
                <a:gd name="T74" fmla="*/ 66 w 67"/>
                <a:gd name="T75" fmla="*/ 8 h 49"/>
                <a:gd name="T76" fmla="*/ 62 w 67"/>
                <a:gd name="T77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7" h="49">
                  <a:moveTo>
                    <a:pt x="62" y="3"/>
                  </a:moveTo>
                  <a:cubicBezTo>
                    <a:pt x="61" y="2"/>
                    <a:pt x="59" y="2"/>
                    <a:pt x="58" y="1"/>
                  </a:cubicBezTo>
                  <a:cubicBezTo>
                    <a:pt x="56" y="1"/>
                    <a:pt x="53" y="0"/>
                    <a:pt x="51" y="0"/>
                  </a:cubicBezTo>
                  <a:cubicBezTo>
                    <a:pt x="48" y="0"/>
                    <a:pt x="45" y="1"/>
                    <a:pt x="42" y="2"/>
                  </a:cubicBezTo>
                  <a:cubicBezTo>
                    <a:pt x="40" y="4"/>
                    <a:pt x="38" y="6"/>
                    <a:pt x="36" y="8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5" y="5"/>
                    <a:pt x="33" y="3"/>
                    <a:pt x="31" y="2"/>
                  </a:cubicBezTo>
                  <a:cubicBezTo>
                    <a:pt x="28" y="1"/>
                    <a:pt x="26" y="0"/>
                    <a:pt x="23" y="0"/>
                  </a:cubicBezTo>
                  <a:cubicBezTo>
                    <a:pt x="16" y="0"/>
                    <a:pt x="11" y="3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8"/>
                    <a:pt x="8" y="17"/>
                    <a:pt x="8" y="16"/>
                  </a:cubicBezTo>
                  <a:cubicBezTo>
                    <a:pt x="9" y="14"/>
                    <a:pt x="9" y="13"/>
                    <a:pt x="10" y="12"/>
                  </a:cubicBezTo>
                  <a:cubicBezTo>
                    <a:pt x="11" y="10"/>
                    <a:pt x="13" y="9"/>
                    <a:pt x="14" y="8"/>
                  </a:cubicBezTo>
                  <a:cubicBezTo>
                    <a:pt x="16" y="7"/>
                    <a:pt x="18" y="7"/>
                    <a:pt x="20" y="7"/>
                  </a:cubicBezTo>
                  <a:cubicBezTo>
                    <a:pt x="22" y="7"/>
                    <a:pt x="24" y="7"/>
                    <a:pt x="25" y="8"/>
                  </a:cubicBezTo>
                  <a:cubicBezTo>
                    <a:pt x="26" y="8"/>
                    <a:pt x="27" y="9"/>
                    <a:pt x="28" y="10"/>
                  </a:cubicBezTo>
                  <a:cubicBezTo>
                    <a:pt x="28" y="11"/>
                    <a:pt x="29" y="12"/>
                    <a:pt x="29" y="13"/>
                  </a:cubicBezTo>
                  <a:cubicBezTo>
                    <a:pt x="30" y="15"/>
                    <a:pt x="30" y="16"/>
                    <a:pt x="30" y="18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5"/>
                    <a:pt x="38" y="12"/>
                    <a:pt x="40" y="10"/>
                  </a:cubicBezTo>
                  <a:cubicBezTo>
                    <a:pt x="43" y="8"/>
                    <a:pt x="46" y="7"/>
                    <a:pt x="50" y="7"/>
                  </a:cubicBezTo>
                  <a:cubicBezTo>
                    <a:pt x="52" y="7"/>
                    <a:pt x="53" y="7"/>
                    <a:pt x="55" y="8"/>
                  </a:cubicBezTo>
                  <a:cubicBezTo>
                    <a:pt x="56" y="8"/>
                    <a:pt x="57" y="9"/>
                    <a:pt x="58" y="10"/>
                  </a:cubicBezTo>
                  <a:cubicBezTo>
                    <a:pt x="58" y="11"/>
                    <a:pt x="59" y="12"/>
                    <a:pt x="59" y="13"/>
                  </a:cubicBezTo>
                  <a:cubicBezTo>
                    <a:pt x="59" y="15"/>
                    <a:pt x="59" y="16"/>
                    <a:pt x="59" y="18"/>
                  </a:cubicBezTo>
                  <a:cubicBezTo>
                    <a:pt x="59" y="49"/>
                    <a:pt x="59" y="49"/>
                    <a:pt x="59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7" y="11"/>
                    <a:pt x="66" y="9"/>
                    <a:pt x="66" y="8"/>
                  </a:cubicBezTo>
                  <a:cubicBezTo>
                    <a:pt x="65" y="6"/>
                    <a:pt x="64" y="5"/>
                    <a:pt x="62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6"/>
            <p:cNvSpPr>
              <a:spLocks noEditPoints="1"/>
            </p:cNvSpPr>
            <p:nvPr userDrawn="1"/>
          </p:nvSpPr>
          <p:spPr bwMode="auto">
            <a:xfrm>
              <a:off x="3478881" y="4861820"/>
              <a:ext cx="9509" cy="88111"/>
            </a:xfrm>
            <a:custGeom>
              <a:avLst/>
              <a:gdLst>
                <a:gd name="T0" fmla="*/ 15 w 15"/>
                <a:gd name="T1" fmla="*/ 19 h 139"/>
                <a:gd name="T2" fmla="*/ 0 w 15"/>
                <a:gd name="T3" fmla="*/ 19 h 139"/>
                <a:gd name="T4" fmla="*/ 0 w 15"/>
                <a:gd name="T5" fmla="*/ 0 h 139"/>
                <a:gd name="T6" fmla="*/ 15 w 15"/>
                <a:gd name="T7" fmla="*/ 0 h 139"/>
                <a:gd name="T8" fmla="*/ 15 w 15"/>
                <a:gd name="T9" fmla="*/ 19 h 139"/>
                <a:gd name="T10" fmla="*/ 15 w 15"/>
                <a:gd name="T11" fmla="*/ 38 h 139"/>
                <a:gd name="T12" fmla="*/ 0 w 15"/>
                <a:gd name="T13" fmla="*/ 38 h 139"/>
                <a:gd name="T14" fmla="*/ 0 w 15"/>
                <a:gd name="T15" fmla="*/ 139 h 139"/>
                <a:gd name="T16" fmla="*/ 15 w 15"/>
                <a:gd name="T17" fmla="*/ 139 h 139"/>
                <a:gd name="T18" fmla="*/ 15 w 15"/>
                <a:gd name="T19" fmla="*/ 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39">
                  <a:moveTo>
                    <a:pt x="15" y="19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"/>
                  </a:lnTo>
                  <a:close/>
                  <a:moveTo>
                    <a:pt x="15" y="38"/>
                  </a:moveTo>
                  <a:lnTo>
                    <a:pt x="0" y="38"/>
                  </a:lnTo>
                  <a:lnTo>
                    <a:pt x="0" y="139"/>
                  </a:lnTo>
                  <a:lnTo>
                    <a:pt x="15" y="139"/>
                  </a:lnTo>
                  <a:lnTo>
                    <a:pt x="15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27"/>
            <p:cNvSpPr>
              <a:spLocks/>
            </p:cNvSpPr>
            <p:nvPr userDrawn="1"/>
          </p:nvSpPr>
          <p:spPr bwMode="auto">
            <a:xfrm>
              <a:off x="3501701" y="4884640"/>
              <a:ext cx="53881" cy="66559"/>
            </a:xfrm>
            <a:custGeom>
              <a:avLst/>
              <a:gdLst>
                <a:gd name="T0" fmla="*/ 34 w 41"/>
                <a:gd name="T1" fmla="*/ 47 h 50"/>
                <a:gd name="T2" fmla="*/ 39 w 41"/>
                <a:gd name="T3" fmla="*/ 42 h 50"/>
                <a:gd name="T4" fmla="*/ 41 w 41"/>
                <a:gd name="T5" fmla="*/ 35 h 50"/>
                <a:gd name="T6" fmla="*/ 39 w 41"/>
                <a:gd name="T7" fmla="*/ 29 h 50"/>
                <a:gd name="T8" fmla="*/ 36 w 41"/>
                <a:gd name="T9" fmla="*/ 26 h 50"/>
                <a:gd name="T10" fmla="*/ 31 w 41"/>
                <a:gd name="T11" fmla="*/ 23 h 50"/>
                <a:gd name="T12" fmla="*/ 25 w 41"/>
                <a:gd name="T13" fmla="*/ 22 h 50"/>
                <a:gd name="T14" fmla="*/ 19 w 41"/>
                <a:gd name="T15" fmla="*/ 20 h 50"/>
                <a:gd name="T16" fmla="*/ 14 w 41"/>
                <a:gd name="T17" fmla="*/ 19 h 50"/>
                <a:gd name="T18" fmla="*/ 11 w 41"/>
                <a:gd name="T19" fmla="*/ 17 h 50"/>
                <a:gd name="T20" fmla="*/ 9 w 41"/>
                <a:gd name="T21" fmla="*/ 13 h 50"/>
                <a:gd name="T22" fmla="*/ 10 w 41"/>
                <a:gd name="T23" fmla="*/ 10 h 50"/>
                <a:gd name="T24" fmla="*/ 13 w 41"/>
                <a:gd name="T25" fmla="*/ 8 h 50"/>
                <a:gd name="T26" fmla="*/ 16 w 41"/>
                <a:gd name="T27" fmla="*/ 7 h 50"/>
                <a:gd name="T28" fmla="*/ 24 w 41"/>
                <a:gd name="T29" fmla="*/ 7 h 50"/>
                <a:gd name="T30" fmla="*/ 27 w 41"/>
                <a:gd name="T31" fmla="*/ 9 h 50"/>
                <a:gd name="T32" fmla="*/ 30 w 41"/>
                <a:gd name="T33" fmla="*/ 11 h 50"/>
                <a:gd name="T34" fmla="*/ 31 w 41"/>
                <a:gd name="T35" fmla="*/ 15 h 50"/>
                <a:gd name="T36" fmla="*/ 38 w 41"/>
                <a:gd name="T37" fmla="*/ 15 h 50"/>
                <a:gd name="T38" fmla="*/ 37 w 41"/>
                <a:gd name="T39" fmla="*/ 8 h 50"/>
                <a:gd name="T40" fmla="*/ 32 w 41"/>
                <a:gd name="T41" fmla="*/ 3 h 50"/>
                <a:gd name="T42" fmla="*/ 26 w 41"/>
                <a:gd name="T43" fmla="*/ 1 h 50"/>
                <a:gd name="T44" fmla="*/ 19 w 41"/>
                <a:gd name="T45" fmla="*/ 0 h 50"/>
                <a:gd name="T46" fmla="*/ 13 w 41"/>
                <a:gd name="T47" fmla="*/ 1 h 50"/>
                <a:gd name="T48" fmla="*/ 7 w 41"/>
                <a:gd name="T49" fmla="*/ 3 h 50"/>
                <a:gd name="T50" fmla="*/ 3 w 41"/>
                <a:gd name="T51" fmla="*/ 8 h 50"/>
                <a:gd name="T52" fmla="*/ 1 w 41"/>
                <a:gd name="T53" fmla="*/ 14 h 50"/>
                <a:gd name="T54" fmla="*/ 4 w 41"/>
                <a:gd name="T55" fmla="*/ 21 h 50"/>
                <a:gd name="T56" fmla="*/ 9 w 41"/>
                <a:gd name="T57" fmla="*/ 25 h 50"/>
                <a:gd name="T58" fmla="*/ 17 w 41"/>
                <a:gd name="T59" fmla="*/ 27 h 50"/>
                <a:gd name="T60" fmla="*/ 24 w 41"/>
                <a:gd name="T61" fmla="*/ 29 h 50"/>
                <a:gd name="T62" fmla="*/ 30 w 41"/>
                <a:gd name="T63" fmla="*/ 31 h 50"/>
                <a:gd name="T64" fmla="*/ 33 w 41"/>
                <a:gd name="T65" fmla="*/ 36 h 50"/>
                <a:gd name="T66" fmla="*/ 32 w 41"/>
                <a:gd name="T67" fmla="*/ 40 h 50"/>
                <a:gd name="T68" fmla="*/ 29 w 41"/>
                <a:gd name="T69" fmla="*/ 42 h 50"/>
                <a:gd name="T70" fmla="*/ 25 w 41"/>
                <a:gd name="T71" fmla="*/ 43 h 50"/>
                <a:gd name="T72" fmla="*/ 16 w 41"/>
                <a:gd name="T73" fmla="*/ 43 h 50"/>
                <a:gd name="T74" fmla="*/ 12 w 41"/>
                <a:gd name="T75" fmla="*/ 41 h 50"/>
                <a:gd name="T76" fmla="*/ 9 w 41"/>
                <a:gd name="T77" fmla="*/ 38 h 50"/>
                <a:gd name="T78" fmla="*/ 8 w 41"/>
                <a:gd name="T79" fmla="*/ 34 h 50"/>
                <a:gd name="T80" fmla="*/ 0 w 41"/>
                <a:gd name="T81" fmla="*/ 34 h 50"/>
                <a:gd name="T82" fmla="*/ 2 w 41"/>
                <a:gd name="T83" fmla="*/ 41 h 50"/>
                <a:gd name="T84" fmla="*/ 7 w 41"/>
                <a:gd name="T85" fmla="*/ 46 h 50"/>
                <a:gd name="T86" fmla="*/ 13 w 41"/>
                <a:gd name="T87" fmla="*/ 49 h 50"/>
                <a:gd name="T88" fmla="*/ 28 w 41"/>
                <a:gd name="T89" fmla="*/ 49 h 50"/>
                <a:gd name="T90" fmla="*/ 34 w 41"/>
                <a:gd name="T91" fmla="*/ 4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" h="50">
                  <a:moveTo>
                    <a:pt x="34" y="47"/>
                  </a:moveTo>
                  <a:cubicBezTo>
                    <a:pt x="36" y="46"/>
                    <a:pt x="38" y="44"/>
                    <a:pt x="39" y="42"/>
                  </a:cubicBezTo>
                  <a:cubicBezTo>
                    <a:pt x="40" y="40"/>
                    <a:pt x="41" y="38"/>
                    <a:pt x="41" y="35"/>
                  </a:cubicBezTo>
                  <a:cubicBezTo>
                    <a:pt x="41" y="33"/>
                    <a:pt x="40" y="31"/>
                    <a:pt x="39" y="29"/>
                  </a:cubicBezTo>
                  <a:cubicBezTo>
                    <a:pt x="38" y="28"/>
                    <a:pt x="37" y="27"/>
                    <a:pt x="36" y="26"/>
                  </a:cubicBezTo>
                  <a:cubicBezTo>
                    <a:pt x="34" y="25"/>
                    <a:pt x="33" y="24"/>
                    <a:pt x="31" y="23"/>
                  </a:cubicBezTo>
                  <a:cubicBezTo>
                    <a:pt x="29" y="23"/>
                    <a:pt x="27" y="22"/>
                    <a:pt x="25" y="22"/>
                  </a:cubicBezTo>
                  <a:cubicBezTo>
                    <a:pt x="23" y="21"/>
                    <a:pt x="21" y="21"/>
                    <a:pt x="19" y="20"/>
                  </a:cubicBezTo>
                  <a:cubicBezTo>
                    <a:pt x="18" y="20"/>
                    <a:pt x="16" y="20"/>
                    <a:pt x="14" y="19"/>
                  </a:cubicBezTo>
                  <a:cubicBezTo>
                    <a:pt x="13" y="18"/>
                    <a:pt x="12" y="18"/>
                    <a:pt x="11" y="17"/>
                  </a:cubicBezTo>
                  <a:cubicBezTo>
                    <a:pt x="10" y="16"/>
                    <a:pt x="9" y="15"/>
                    <a:pt x="9" y="13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1" y="9"/>
                    <a:pt x="12" y="8"/>
                    <a:pt x="13" y="8"/>
                  </a:cubicBezTo>
                  <a:cubicBezTo>
                    <a:pt x="14" y="8"/>
                    <a:pt x="15" y="7"/>
                    <a:pt x="16" y="7"/>
                  </a:cubicBezTo>
                  <a:cubicBezTo>
                    <a:pt x="19" y="7"/>
                    <a:pt x="21" y="7"/>
                    <a:pt x="24" y="7"/>
                  </a:cubicBezTo>
                  <a:cubicBezTo>
                    <a:pt x="25" y="7"/>
                    <a:pt x="26" y="8"/>
                    <a:pt x="27" y="9"/>
                  </a:cubicBezTo>
                  <a:cubicBezTo>
                    <a:pt x="28" y="9"/>
                    <a:pt x="29" y="10"/>
                    <a:pt x="30" y="11"/>
                  </a:cubicBezTo>
                  <a:cubicBezTo>
                    <a:pt x="30" y="12"/>
                    <a:pt x="31" y="13"/>
                    <a:pt x="31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2"/>
                    <a:pt x="38" y="10"/>
                    <a:pt x="37" y="8"/>
                  </a:cubicBezTo>
                  <a:cubicBezTo>
                    <a:pt x="36" y="6"/>
                    <a:pt x="34" y="4"/>
                    <a:pt x="32" y="3"/>
                  </a:cubicBezTo>
                  <a:cubicBezTo>
                    <a:pt x="31" y="2"/>
                    <a:pt x="29" y="1"/>
                    <a:pt x="26" y="1"/>
                  </a:cubicBezTo>
                  <a:cubicBezTo>
                    <a:pt x="24" y="1"/>
                    <a:pt x="22" y="0"/>
                    <a:pt x="19" y="0"/>
                  </a:cubicBezTo>
                  <a:cubicBezTo>
                    <a:pt x="17" y="0"/>
                    <a:pt x="15" y="1"/>
                    <a:pt x="13" y="1"/>
                  </a:cubicBezTo>
                  <a:cubicBezTo>
                    <a:pt x="11" y="2"/>
                    <a:pt x="9" y="2"/>
                    <a:pt x="7" y="3"/>
                  </a:cubicBezTo>
                  <a:cubicBezTo>
                    <a:pt x="5" y="4"/>
                    <a:pt x="4" y="6"/>
                    <a:pt x="3" y="8"/>
                  </a:cubicBezTo>
                  <a:cubicBezTo>
                    <a:pt x="2" y="9"/>
                    <a:pt x="1" y="11"/>
                    <a:pt x="1" y="14"/>
                  </a:cubicBezTo>
                  <a:cubicBezTo>
                    <a:pt x="1" y="17"/>
                    <a:pt x="2" y="19"/>
                    <a:pt x="4" y="21"/>
                  </a:cubicBezTo>
                  <a:cubicBezTo>
                    <a:pt x="5" y="22"/>
                    <a:pt x="7" y="24"/>
                    <a:pt x="9" y="25"/>
                  </a:cubicBezTo>
                  <a:cubicBezTo>
                    <a:pt x="12" y="26"/>
                    <a:pt x="14" y="26"/>
                    <a:pt x="17" y="27"/>
                  </a:cubicBezTo>
                  <a:cubicBezTo>
                    <a:pt x="20" y="27"/>
                    <a:pt x="22" y="28"/>
                    <a:pt x="24" y="29"/>
                  </a:cubicBezTo>
                  <a:cubicBezTo>
                    <a:pt x="27" y="29"/>
                    <a:pt x="29" y="30"/>
                    <a:pt x="30" y="31"/>
                  </a:cubicBezTo>
                  <a:cubicBezTo>
                    <a:pt x="32" y="32"/>
                    <a:pt x="33" y="34"/>
                    <a:pt x="33" y="36"/>
                  </a:cubicBezTo>
                  <a:cubicBezTo>
                    <a:pt x="33" y="38"/>
                    <a:pt x="32" y="39"/>
                    <a:pt x="32" y="40"/>
                  </a:cubicBezTo>
                  <a:cubicBezTo>
                    <a:pt x="31" y="41"/>
                    <a:pt x="30" y="42"/>
                    <a:pt x="29" y="42"/>
                  </a:cubicBezTo>
                  <a:cubicBezTo>
                    <a:pt x="27" y="43"/>
                    <a:pt x="26" y="43"/>
                    <a:pt x="25" y="43"/>
                  </a:cubicBezTo>
                  <a:cubicBezTo>
                    <a:pt x="22" y="44"/>
                    <a:pt x="19" y="44"/>
                    <a:pt x="16" y="43"/>
                  </a:cubicBezTo>
                  <a:cubicBezTo>
                    <a:pt x="15" y="43"/>
                    <a:pt x="13" y="42"/>
                    <a:pt x="12" y="41"/>
                  </a:cubicBezTo>
                  <a:cubicBezTo>
                    <a:pt x="11" y="41"/>
                    <a:pt x="10" y="40"/>
                    <a:pt x="9" y="38"/>
                  </a:cubicBezTo>
                  <a:cubicBezTo>
                    <a:pt x="8" y="37"/>
                    <a:pt x="8" y="36"/>
                    <a:pt x="8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7"/>
                    <a:pt x="1" y="39"/>
                    <a:pt x="2" y="41"/>
                  </a:cubicBezTo>
                  <a:cubicBezTo>
                    <a:pt x="3" y="43"/>
                    <a:pt x="5" y="45"/>
                    <a:pt x="7" y="46"/>
                  </a:cubicBezTo>
                  <a:cubicBezTo>
                    <a:pt x="8" y="48"/>
                    <a:pt x="10" y="48"/>
                    <a:pt x="13" y="49"/>
                  </a:cubicBezTo>
                  <a:cubicBezTo>
                    <a:pt x="17" y="50"/>
                    <a:pt x="23" y="50"/>
                    <a:pt x="28" y="49"/>
                  </a:cubicBezTo>
                  <a:cubicBezTo>
                    <a:pt x="30" y="49"/>
                    <a:pt x="32" y="48"/>
                    <a:pt x="34" y="4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28"/>
            <p:cNvSpPr>
              <a:spLocks/>
            </p:cNvSpPr>
            <p:nvPr userDrawn="1"/>
          </p:nvSpPr>
          <p:spPr bwMode="auto">
            <a:xfrm>
              <a:off x="3561287" y="4867525"/>
              <a:ext cx="32962" cy="82406"/>
            </a:xfrm>
            <a:custGeom>
              <a:avLst/>
              <a:gdLst>
                <a:gd name="T0" fmla="*/ 16 w 25"/>
                <a:gd name="T1" fmla="*/ 0 h 62"/>
                <a:gd name="T2" fmla="*/ 8 w 25"/>
                <a:gd name="T3" fmla="*/ 0 h 62"/>
                <a:gd name="T4" fmla="*/ 8 w 25"/>
                <a:gd name="T5" fmla="*/ 14 h 62"/>
                <a:gd name="T6" fmla="*/ 0 w 25"/>
                <a:gd name="T7" fmla="*/ 14 h 62"/>
                <a:gd name="T8" fmla="*/ 0 w 25"/>
                <a:gd name="T9" fmla="*/ 21 h 62"/>
                <a:gd name="T10" fmla="*/ 8 w 25"/>
                <a:gd name="T11" fmla="*/ 21 h 62"/>
                <a:gd name="T12" fmla="*/ 8 w 25"/>
                <a:gd name="T13" fmla="*/ 52 h 62"/>
                <a:gd name="T14" fmla="*/ 9 w 25"/>
                <a:gd name="T15" fmla="*/ 57 h 62"/>
                <a:gd name="T16" fmla="*/ 11 w 25"/>
                <a:gd name="T17" fmla="*/ 60 h 62"/>
                <a:gd name="T18" fmla="*/ 14 w 25"/>
                <a:gd name="T19" fmla="*/ 61 h 62"/>
                <a:gd name="T20" fmla="*/ 19 w 25"/>
                <a:gd name="T21" fmla="*/ 62 h 62"/>
                <a:gd name="T22" fmla="*/ 25 w 25"/>
                <a:gd name="T23" fmla="*/ 62 h 62"/>
                <a:gd name="T24" fmla="*/ 25 w 25"/>
                <a:gd name="T25" fmla="*/ 55 h 62"/>
                <a:gd name="T26" fmla="*/ 22 w 25"/>
                <a:gd name="T27" fmla="*/ 55 h 62"/>
                <a:gd name="T28" fmla="*/ 19 w 25"/>
                <a:gd name="T29" fmla="*/ 55 h 62"/>
                <a:gd name="T30" fmla="*/ 17 w 25"/>
                <a:gd name="T31" fmla="*/ 55 h 62"/>
                <a:gd name="T32" fmla="*/ 16 w 25"/>
                <a:gd name="T33" fmla="*/ 53 h 62"/>
                <a:gd name="T34" fmla="*/ 16 w 25"/>
                <a:gd name="T35" fmla="*/ 51 h 62"/>
                <a:gd name="T36" fmla="*/ 16 w 25"/>
                <a:gd name="T37" fmla="*/ 21 h 62"/>
                <a:gd name="T38" fmla="*/ 25 w 25"/>
                <a:gd name="T39" fmla="*/ 21 h 62"/>
                <a:gd name="T40" fmla="*/ 25 w 25"/>
                <a:gd name="T41" fmla="*/ 14 h 62"/>
                <a:gd name="T42" fmla="*/ 16 w 25"/>
                <a:gd name="T43" fmla="*/ 14 h 62"/>
                <a:gd name="T44" fmla="*/ 16 w 25"/>
                <a:gd name="T4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" h="62">
                  <a:moveTo>
                    <a:pt x="1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4"/>
                    <a:pt x="8" y="56"/>
                    <a:pt x="9" y="57"/>
                  </a:cubicBezTo>
                  <a:cubicBezTo>
                    <a:pt x="9" y="58"/>
                    <a:pt x="10" y="59"/>
                    <a:pt x="11" y="60"/>
                  </a:cubicBezTo>
                  <a:cubicBezTo>
                    <a:pt x="12" y="61"/>
                    <a:pt x="13" y="61"/>
                    <a:pt x="14" y="61"/>
                  </a:cubicBezTo>
                  <a:cubicBezTo>
                    <a:pt x="16" y="62"/>
                    <a:pt x="17" y="62"/>
                    <a:pt x="19" y="62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0" y="55"/>
                    <a:pt x="19" y="55"/>
                    <a:pt x="19" y="55"/>
                  </a:cubicBezTo>
                  <a:cubicBezTo>
                    <a:pt x="18" y="55"/>
                    <a:pt x="17" y="55"/>
                    <a:pt x="17" y="55"/>
                  </a:cubicBezTo>
                  <a:cubicBezTo>
                    <a:pt x="16" y="54"/>
                    <a:pt x="16" y="54"/>
                    <a:pt x="16" y="53"/>
                  </a:cubicBezTo>
                  <a:cubicBezTo>
                    <a:pt x="16" y="53"/>
                    <a:pt x="16" y="52"/>
                    <a:pt x="16" y="5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16" y="14"/>
                    <a:pt x="16" y="14"/>
                    <a:pt x="16" y="14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29"/>
            <p:cNvSpPr>
              <a:spLocks/>
            </p:cNvSpPr>
            <p:nvPr userDrawn="1"/>
          </p:nvSpPr>
          <p:spPr bwMode="auto">
            <a:xfrm>
              <a:off x="3023111" y="4867525"/>
              <a:ext cx="34230" cy="82406"/>
            </a:xfrm>
            <a:custGeom>
              <a:avLst/>
              <a:gdLst>
                <a:gd name="T0" fmla="*/ 16 w 26"/>
                <a:gd name="T1" fmla="*/ 0 h 62"/>
                <a:gd name="T2" fmla="*/ 8 w 26"/>
                <a:gd name="T3" fmla="*/ 0 h 62"/>
                <a:gd name="T4" fmla="*/ 8 w 26"/>
                <a:gd name="T5" fmla="*/ 14 h 62"/>
                <a:gd name="T6" fmla="*/ 0 w 26"/>
                <a:gd name="T7" fmla="*/ 14 h 62"/>
                <a:gd name="T8" fmla="*/ 0 w 26"/>
                <a:gd name="T9" fmla="*/ 21 h 62"/>
                <a:gd name="T10" fmla="*/ 8 w 26"/>
                <a:gd name="T11" fmla="*/ 21 h 62"/>
                <a:gd name="T12" fmla="*/ 8 w 26"/>
                <a:gd name="T13" fmla="*/ 52 h 62"/>
                <a:gd name="T14" fmla="*/ 9 w 26"/>
                <a:gd name="T15" fmla="*/ 57 h 62"/>
                <a:gd name="T16" fmla="*/ 11 w 26"/>
                <a:gd name="T17" fmla="*/ 60 h 62"/>
                <a:gd name="T18" fmla="*/ 14 w 26"/>
                <a:gd name="T19" fmla="*/ 61 h 62"/>
                <a:gd name="T20" fmla="*/ 19 w 26"/>
                <a:gd name="T21" fmla="*/ 62 h 62"/>
                <a:gd name="T22" fmla="*/ 25 w 26"/>
                <a:gd name="T23" fmla="*/ 62 h 62"/>
                <a:gd name="T24" fmla="*/ 25 w 26"/>
                <a:gd name="T25" fmla="*/ 55 h 62"/>
                <a:gd name="T26" fmla="*/ 22 w 26"/>
                <a:gd name="T27" fmla="*/ 55 h 62"/>
                <a:gd name="T28" fmla="*/ 19 w 26"/>
                <a:gd name="T29" fmla="*/ 55 h 62"/>
                <a:gd name="T30" fmla="*/ 17 w 26"/>
                <a:gd name="T31" fmla="*/ 55 h 62"/>
                <a:gd name="T32" fmla="*/ 16 w 26"/>
                <a:gd name="T33" fmla="*/ 53 h 62"/>
                <a:gd name="T34" fmla="*/ 16 w 26"/>
                <a:gd name="T35" fmla="*/ 51 h 62"/>
                <a:gd name="T36" fmla="*/ 16 w 26"/>
                <a:gd name="T37" fmla="*/ 21 h 62"/>
                <a:gd name="T38" fmla="*/ 26 w 26"/>
                <a:gd name="T39" fmla="*/ 21 h 62"/>
                <a:gd name="T40" fmla="*/ 26 w 26"/>
                <a:gd name="T41" fmla="*/ 14 h 62"/>
                <a:gd name="T42" fmla="*/ 16 w 26"/>
                <a:gd name="T43" fmla="*/ 14 h 62"/>
                <a:gd name="T44" fmla="*/ 16 w 26"/>
                <a:gd name="T4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" h="62">
                  <a:moveTo>
                    <a:pt x="1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4"/>
                    <a:pt x="9" y="56"/>
                    <a:pt x="9" y="57"/>
                  </a:cubicBezTo>
                  <a:cubicBezTo>
                    <a:pt x="9" y="58"/>
                    <a:pt x="10" y="59"/>
                    <a:pt x="11" y="60"/>
                  </a:cubicBezTo>
                  <a:cubicBezTo>
                    <a:pt x="12" y="61"/>
                    <a:pt x="13" y="61"/>
                    <a:pt x="14" y="61"/>
                  </a:cubicBezTo>
                  <a:cubicBezTo>
                    <a:pt x="16" y="62"/>
                    <a:pt x="17" y="62"/>
                    <a:pt x="19" y="62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0" y="55"/>
                    <a:pt x="19" y="55"/>
                  </a:cubicBezTo>
                  <a:cubicBezTo>
                    <a:pt x="18" y="55"/>
                    <a:pt x="17" y="55"/>
                    <a:pt x="17" y="55"/>
                  </a:cubicBezTo>
                  <a:cubicBezTo>
                    <a:pt x="16" y="54"/>
                    <a:pt x="16" y="54"/>
                    <a:pt x="16" y="53"/>
                  </a:cubicBezTo>
                  <a:cubicBezTo>
                    <a:pt x="16" y="53"/>
                    <a:pt x="16" y="52"/>
                    <a:pt x="16" y="5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16" y="14"/>
                    <a:pt x="16" y="14"/>
                    <a:pt x="16" y="14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0"/>
            <p:cNvSpPr>
              <a:spLocks/>
            </p:cNvSpPr>
            <p:nvPr userDrawn="1"/>
          </p:nvSpPr>
          <p:spPr bwMode="auto">
            <a:xfrm>
              <a:off x="3608829" y="4885908"/>
              <a:ext cx="33597" cy="64023"/>
            </a:xfrm>
            <a:custGeom>
              <a:avLst/>
              <a:gdLst>
                <a:gd name="T0" fmla="*/ 8 w 25"/>
                <a:gd name="T1" fmla="*/ 11 h 48"/>
                <a:gd name="T2" fmla="*/ 8 w 25"/>
                <a:gd name="T3" fmla="*/ 11 h 48"/>
                <a:gd name="T4" fmla="*/ 7 w 25"/>
                <a:gd name="T5" fmla="*/ 11 h 48"/>
                <a:gd name="T6" fmla="*/ 7 w 25"/>
                <a:gd name="T7" fmla="*/ 0 h 48"/>
                <a:gd name="T8" fmla="*/ 0 w 25"/>
                <a:gd name="T9" fmla="*/ 0 h 48"/>
                <a:gd name="T10" fmla="*/ 0 w 25"/>
                <a:gd name="T11" fmla="*/ 48 h 48"/>
                <a:gd name="T12" fmla="*/ 8 w 25"/>
                <a:gd name="T13" fmla="*/ 48 h 48"/>
                <a:gd name="T14" fmla="*/ 8 w 25"/>
                <a:gd name="T15" fmla="*/ 27 h 48"/>
                <a:gd name="T16" fmla="*/ 9 w 25"/>
                <a:gd name="T17" fmla="*/ 19 h 48"/>
                <a:gd name="T18" fmla="*/ 12 w 25"/>
                <a:gd name="T19" fmla="*/ 13 h 48"/>
                <a:gd name="T20" fmla="*/ 17 w 25"/>
                <a:gd name="T21" fmla="*/ 9 h 48"/>
                <a:gd name="T22" fmla="*/ 25 w 25"/>
                <a:gd name="T23" fmla="*/ 8 h 48"/>
                <a:gd name="T24" fmla="*/ 25 w 25"/>
                <a:gd name="T25" fmla="*/ 0 h 48"/>
                <a:gd name="T26" fmla="*/ 15 w 25"/>
                <a:gd name="T27" fmla="*/ 2 h 48"/>
                <a:gd name="T28" fmla="*/ 8 w 25"/>
                <a:gd name="T29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48">
                  <a:moveTo>
                    <a:pt x="8" y="11"/>
                  </a:move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4"/>
                    <a:pt x="8" y="21"/>
                    <a:pt x="9" y="19"/>
                  </a:cubicBezTo>
                  <a:cubicBezTo>
                    <a:pt x="9" y="17"/>
                    <a:pt x="10" y="15"/>
                    <a:pt x="12" y="13"/>
                  </a:cubicBezTo>
                  <a:cubicBezTo>
                    <a:pt x="13" y="11"/>
                    <a:pt x="15" y="10"/>
                    <a:pt x="17" y="9"/>
                  </a:cubicBezTo>
                  <a:cubicBezTo>
                    <a:pt x="19" y="8"/>
                    <a:pt x="22" y="8"/>
                    <a:pt x="25" y="8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1" y="0"/>
                    <a:pt x="18" y="1"/>
                    <a:pt x="15" y="2"/>
                  </a:cubicBezTo>
                  <a:cubicBezTo>
                    <a:pt x="12" y="4"/>
                    <a:pt x="10" y="7"/>
                    <a:pt x="8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1"/>
            <p:cNvSpPr>
              <a:spLocks/>
            </p:cNvSpPr>
            <p:nvPr userDrawn="1"/>
          </p:nvSpPr>
          <p:spPr bwMode="auto">
            <a:xfrm>
              <a:off x="3647496" y="4885908"/>
              <a:ext cx="58318" cy="89379"/>
            </a:xfrm>
            <a:custGeom>
              <a:avLst/>
              <a:gdLst>
                <a:gd name="T0" fmla="*/ 20 w 44"/>
                <a:gd name="T1" fmla="*/ 60 h 67"/>
                <a:gd name="T2" fmla="*/ 23 w 44"/>
                <a:gd name="T3" fmla="*/ 54 h 67"/>
                <a:gd name="T4" fmla="*/ 44 w 44"/>
                <a:gd name="T5" fmla="*/ 0 h 67"/>
                <a:gd name="T6" fmla="*/ 36 w 44"/>
                <a:gd name="T7" fmla="*/ 0 h 67"/>
                <a:gd name="T8" fmla="*/ 23 w 44"/>
                <a:gd name="T9" fmla="*/ 40 h 67"/>
                <a:gd name="T10" fmla="*/ 22 w 44"/>
                <a:gd name="T11" fmla="*/ 40 h 67"/>
                <a:gd name="T12" fmla="*/ 22 w 44"/>
                <a:gd name="T13" fmla="*/ 39 h 67"/>
                <a:gd name="T14" fmla="*/ 8 w 44"/>
                <a:gd name="T15" fmla="*/ 0 h 67"/>
                <a:gd name="T16" fmla="*/ 0 w 44"/>
                <a:gd name="T17" fmla="*/ 0 h 67"/>
                <a:gd name="T18" fmla="*/ 19 w 44"/>
                <a:gd name="T19" fmla="*/ 48 h 67"/>
                <a:gd name="T20" fmla="*/ 19 w 44"/>
                <a:gd name="T21" fmla="*/ 48 h 67"/>
                <a:gd name="T22" fmla="*/ 15 w 44"/>
                <a:gd name="T23" fmla="*/ 56 h 67"/>
                <a:gd name="T24" fmla="*/ 13 w 44"/>
                <a:gd name="T25" fmla="*/ 59 h 67"/>
                <a:gd name="T26" fmla="*/ 9 w 44"/>
                <a:gd name="T27" fmla="*/ 60 h 67"/>
                <a:gd name="T28" fmla="*/ 6 w 44"/>
                <a:gd name="T29" fmla="*/ 60 h 67"/>
                <a:gd name="T30" fmla="*/ 4 w 44"/>
                <a:gd name="T31" fmla="*/ 59 h 67"/>
                <a:gd name="T32" fmla="*/ 4 w 44"/>
                <a:gd name="T33" fmla="*/ 66 h 67"/>
                <a:gd name="T34" fmla="*/ 7 w 44"/>
                <a:gd name="T35" fmla="*/ 67 h 67"/>
                <a:gd name="T36" fmla="*/ 10 w 44"/>
                <a:gd name="T37" fmla="*/ 67 h 67"/>
                <a:gd name="T38" fmla="*/ 14 w 44"/>
                <a:gd name="T39" fmla="*/ 66 h 67"/>
                <a:gd name="T40" fmla="*/ 18 w 44"/>
                <a:gd name="T41" fmla="*/ 64 h 67"/>
                <a:gd name="T42" fmla="*/ 20 w 44"/>
                <a:gd name="T43" fmla="*/ 6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67">
                  <a:moveTo>
                    <a:pt x="20" y="60"/>
                  </a:moveTo>
                  <a:cubicBezTo>
                    <a:pt x="21" y="59"/>
                    <a:pt x="22" y="57"/>
                    <a:pt x="23" y="54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5" y="57"/>
                    <a:pt x="14" y="59"/>
                    <a:pt x="13" y="59"/>
                  </a:cubicBezTo>
                  <a:cubicBezTo>
                    <a:pt x="12" y="60"/>
                    <a:pt x="10" y="60"/>
                    <a:pt x="9" y="60"/>
                  </a:cubicBezTo>
                  <a:cubicBezTo>
                    <a:pt x="8" y="60"/>
                    <a:pt x="7" y="60"/>
                    <a:pt x="6" y="60"/>
                  </a:cubicBezTo>
                  <a:cubicBezTo>
                    <a:pt x="6" y="60"/>
                    <a:pt x="5" y="60"/>
                    <a:pt x="4" y="59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5" y="66"/>
                    <a:pt x="6" y="67"/>
                    <a:pt x="7" y="67"/>
                  </a:cubicBezTo>
                  <a:cubicBezTo>
                    <a:pt x="8" y="67"/>
                    <a:pt x="9" y="67"/>
                    <a:pt x="10" y="67"/>
                  </a:cubicBezTo>
                  <a:cubicBezTo>
                    <a:pt x="11" y="67"/>
                    <a:pt x="13" y="67"/>
                    <a:pt x="14" y="66"/>
                  </a:cubicBezTo>
                  <a:cubicBezTo>
                    <a:pt x="15" y="66"/>
                    <a:pt x="17" y="65"/>
                    <a:pt x="18" y="64"/>
                  </a:cubicBezTo>
                  <a:cubicBezTo>
                    <a:pt x="19" y="63"/>
                    <a:pt x="20" y="62"/>
                    <a:pt x="20" y="6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63052" y="4600540"/>
            <a:ext cx="1153974" cy="374747"/>
          </a:xfrm>
          <a:prstGeom prst="rect">
            <a:avLst/>
          </a:prstGeom>
        </p:spPr>
      </p:pic>
      <p:sp>
        <p:nvSpPr>
          <p:cNvPr id="44" name="TextBox 43"/>
          <p:cNvSpPr txBox="1"/>
          <p:nvPr userDrawn="1"/>
        </p:nvSpPr>
        <p:spPr>
          <a:xfrm>
            <a:off x="2411760" y="4587974"/>
            <a:ext cx="35349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PACKAGING FOR A MORE SUSTAINABLE WORLD</a:t>
            </a:r>
          </a:p>
        </p:txBody>
      </p:sp>
    </p:spTree>
    <p:extLst>
      <p:ext uri="{BB962C8B-B14F-4D97-AF65-F5344CB8AC3E}">
        <p14:creationId xmlns:p14="http://schemas.microsoft.com/office/powerpoint/2010/main" val="438275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68" r:id="rId3"/>
    <p:sldLayoutId id="2147483713" r:id="rId4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4800" y="207402"/>
            <a:ext cx="8443664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94640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59" r:id="rId6"/>
    <p:sldLayoutId id="2147483660" r:id="rId7"/>
    <p:sldLayoutId id="2147483661" r:id="rId8"/>
    <p:sldLayoutId id="2147483669" r:id="rId9"/>
    <p:sldLayoutId id="2147483670" r:id="rId10"/>
    <p:sldLayoutId id="2147483715" r:id="rId11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Folie" r:id="rId36" imgW="270" imgH="270" progId="TCLayout.ActiveDocument.1">
                  <p:embed/>
                </p:oleObj>
              </mc:Choice>
              <mc:Fallback>
                <p:oleObj name="think-cell Folie" r:id="rId3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ix/0/0,6/25,39/3,8"/>
          <p:cNvSpPr>
            <a:spLocks noChangeArrowheads="1"/>
          </p:cNvSpPr>
          <p:nvPr userDrawn="1">
            <p:custDataLst>
              <p:tags r:id="rId28"/>
            </p:custDataLst>
          </p:nvPr>
        </p:nvSpPr>
        <p:spPr bwMode="auto">
          <a:xfrm>
            <a:off x="1" y="161925"/>
            <a:ext cx="9140825" cy="1025129"/>
          </a:xfrm>
          <a:prstGeom prst="rect">
            <a:avLst/>
          </a:prstGeom>
          <a:solidFill>
            <a:srgbClr val="9BD4E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3" name="Fix/20,99/0,6/3,8/3,8"/>
          <p:cNvPicPr>
            <a:picLocks/>
          </p:cNvPicPr>
          <p:nvPr userDrawn="1">
            <p:custDataLst>
              <p:tags r:id="rId29"/>
            </p:custDataLst>
          </p:nvPr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000" y="161925"/>
            <a:ext cx="1026000" cy="1025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Plaz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16000" y="480600"/>
            <a:ext cx="7128000" cy="6399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16000" y="1403999"/>
            <a:ext cx="8712000" cy="3456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208000" y="4984200"/>
            <a:ext cx="720000" cy="113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rgbClr val="000000"/>
                </a:solidFill>
                <a:latin typeface="Arial"/>
              </a:defRPr>
            </a:lvl1pPr>
          </a:lstStyle>
          <a:p>
            <a:fld id="{EF209D13-EB7C-4791-9240-8B3277C19323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936000" y="5038200"/>
            <a:ext cx="7272000" cy="72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solidFill>
                  <a:srgbClr val="000000"/>
                </a:solidFill>
                <a:latin typeface="Arial"/>
              </a:defRPr>
            </a:lvl1pPr>
          </a:lstStyle>
          <a:p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2"/>
            <p:custDataLst>
              <p:tags r:id="rId34"/>
            </p:custDataLst>
          </p:nvPr>
        </p:nvSpPr>
        <p:spPr>
          <a:xfrm>
            <a:off x="216000" y="4984200"/>
            <a:ext cx="720000" cy="113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de-DE"/>
              <a:t>12.05.2016</a:t>
            </a:r>
          </a:p>
        </p:txBody>
      </p:sp>
      <p:sp>
        <p:nvSpPr>
          <p:cNvPr id="14" name="DokuPlaz"/>
          <p:cNvSpPr txBox="1">
            <a:spLocks/>
          </p:cNvSpPr>
          <p:nvPr userDrawn="1">
            <p:custDataLst>
              <p:tags r:id="rId35"/>
            </p:custDataLst>
          </p:nvPr>
        </p:nvSpPr>
        <p:spPr>
          <a:xfrm>
            <a:off x="936000" y="5073300"/>
            <a:ext cx="7272000" cy="729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1884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  <p:sldLayoutId id="2147483693" r:id="rId22"/>
    <p:sldLayoutId id="2147483694" r:id="rId23"/>
    <p:sldLayoutId id="2147483695" r:id="rId2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28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14" b="20862"/>
          <a:stretch/>
        </p:blipFill>
        <p:spPr>
          <a:xfrm>
            <a:off x="3176" y="2382"/>
            <a:ext cx="9140823" cy="5143819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7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ix/0,6/0/4,8/19,0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215900" y="1"/>
            <a:ext cx="1293732" cy="5144691"/>
          </a:xfrm>
          <a:prstGeom prst="rect">
            <a:avLst/>
          </a:prstGeom>
          <a:solidFill>
            <a:srgbClr val="21A0D2">
              <a:alpha val="6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78" eaLnBrk="1" hangingPunct="1"/>
            <a:endParaRPr lang="de-DE" altLang="de-DE" sz="1800">
              <a:solidFill>
                <a:srgbClr val="000000"/>
              </a:solidFill>
            </a:endParaRPr>
          </a:p>
        </p:txBody>
      </p:sp>
      <p:pic>
        <p:nvPicPr>
          <p:cNvPr id="8" name="Fix/0,6/13,64/4,8/4,8"/>
          <p:cNvPicPr>
            <a:picLocks/>
          </p:cNvPicPr>
          <p:nvPr userDrawn="1"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2" y="3683794"/>
            <a:ext cx="1293731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ix/1,25/12,95/4,8/2,4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450850" y="3496866"/>
            <a:ext cx="1728788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378"/>
            <a:endParaRPr lang="de-DE" altLang="de-DE" sz="2000">
              <a:solidFill>
                <a:srgbClr val="000000"/>
              </a:solidFill>
            </a:endParaRPr>
          </a:p>
        </p:txBody>
      </p:sp>
      <p:sp>
        <p:nvSpPr>
          <p:cNvPr id="2" name="TitelPlaz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2160000" y="3672000"/>
            <a:ext cx="6732000" cy="7155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2160000" y="4387500"/>
            <a:ext cx="6732000" cy="32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8208000" y="4984200"/>
            <a:ext cx="720000" cy="113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rgbClr val="000000"/>
                </a:solidFill>
                <a:latin typeface="Arial"/>
              </a:defRPr>
            </a:lvl1pPr>
          </a:lstStyle>
          <a:p>
            <a:pPr defTabSz="914378"/>
            <a:fld id="{84111605-78AC-4B7F-B1C7-A27E3214896B}" type="slidenum">
              <a:rPr lang="de-DE" smtClean="0"/>
              <a:pPr defTabSz="914378"/>
              <a:t>‹#›</a:t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>
          <a:xfrm>
            <a:off x="2880000" y="5038200"/>
            <a:ext cx="5400000" cy="72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solidFill>
                  <a:srgbClr val="000000"/>
                </a:solidFill>
                <a:latin typeface="Arial"/>
              </a:defRPr>
            </a:lvl1pPr>
          </a:lstStyle>
          <a:p>
            <a:pPr defTabSz="914378"/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2"/>
            <p:custDataLst>
              <p:tags r:id="rId12"/>
            </p:custDataLst>
          </p:nvPr>
        </p:nvSpPr>
        <p:spPr>
          <a:xfrm>
            <a:off x="2160000" y="4984200"/>
            <a:ext cx="720000" cy="113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rgbClr val="000000"/>
                </a:solidFill>
                <a:latin typeface="Arial"/>
              </a:defRPr>
            </a:lvl1pPr>
          </a:lstStyle>
          <a:p>
            <a:pPr defTabSz="914378"/>
            <a:r>
              <a:rPr lang="de-DE"/>
              <a:t>12.05.2016</a:t>
            </a:r>
          </a:p>
        </p:txBody>
      </p:sp>
      <p:sp>
        <p:nvSpPr>
          <p:cNvPr id="10" name="DokuPlaz"/>
          <p:cNvSpPr txBox="1">
            <a:spLocks/>
          </p:cNvSpPr>
          <p:nvPr userDrawn="1">
            <p:custDataLst>
              <p:tags r:id="rId13"/>
            </p:custDataLst>
          </p:nvPr>
        </p:nvSpPr>
        <p:spPr>
          <a:xfrm>
            <a:off x="2880000" y="5073300"/>
            <a:ext cx="5400000" cy="729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de-DE" sz="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083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hf sldNum="0" hdr="0" dt="0"/>
  <p:txStyles>
    <p:titleStyle>
      <a:lvl1pPr algn="l" defTabSz="914378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1pPr>
      <a:lvl2pPr marL="742931" indent="-285743" algn="l" defTabSz="914378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2pPr>
      <a:lvl3pPr marL="1142972" indent="-228594" algn="l" defTabSz="914378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3pPr>
      <a:lvl4pPr marL="1600160" indent="-228594" algn="l" defTabSz="914378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4pPr>
      <a:lvl5pPr marL="2057348" indent="-228594" algn="l" defTabSz="914378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gif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4.wdp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5.wdp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4.emf"/><Relationship Id="rId4" Type="http://schemas.microsoft.com/office/2007/relationships/hdphoto" Target="../media/hdphoto16.wdp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32.jpeg"/><Relationship Id="rId18" Type="http://schemas.microsoft.com/office/2007/relationships/hdphoto" Target="../media/hdphoto9.wdp"/><Relationship Id="rId26" Type="http://schemas.microsoft.com/office/2007/relationships/hdphoto" Target="../media/hdphoto13.wdp"/><Relationship Id="rId3" Type="http://schemas.openxmlformats.org/officeDocument/2006/relationships/image" Target="../media/image27.jpeg"/><Relationship Id="rId21" Type="http://schemas.openxmlformats.org/officeDocument/2006/relationships/image" Target="../media/image36.jpeg"/><Relationship Id="rId7" Type="http://schemas.openxmlformats.org/officeDocument/2006/relationships/image" Target="../media/image29.jpeg"/><Relationship Id="rId12" Type="http://schemas.microsoft.com/office/2007/relationships/hdphoto" Target="../media/hdphoto6.wdp"/><Relationship Id="rId17" Type="http://schemas.openxmlformats.org/officeDocument/2006/relationships/image" Target="../media/image34.jpeg"/><Relationship Id="rId25" Type="http://schemas.openxmlformats.org/officeDocument/2006/relationships/image" Target="../media/image38.jpeg"/><Relationship Id="rId2" Type="http://schemas.openxmlformats.org/officeDocument/2006/relationships/notesSlide" Target="../notesSlides/notesSlide3.xml"/><Relationship Id="rId16" Type="http://schemas.microsoft.com/office/2007/relationships/hdphoto" Target="../media/hdphoto8.wdp"/><Relationship Id="rId20" Type="http://schemas.microsoft.com/office/2007/relationships/hdphoto" Target="../media/hdphoto10.wdp"/><Relationship Id="rId1" Type="http://schemas.openxmlformats.org/officeDocument/2006/relationships/slideLayout" Target="../slideLayouts/slideLayout10.xml"/><Relationship Id="rId6" Type="http://schemas.microsoft.com/office/2007/relationships/hdphoto" Target="../media/hdphoto3.wdp"/><Relationship Id="rId11" Type="http://schemas.openxmlformats.org/officeDocument/2006/relationships/image" Target="../media/image31.jpeg"/><Relationship Id="rId24" Type="http://schemas.microsoft.com/office/2007/relationships/hdphoto" Target="../media/hdphoto12.wdp"/><Relationship Id="rId5" Type="http://schemas.openxmlformats.org/officeDocument/2006/relationships/image" Target="../media/image28.jpeg"/><Relationship Id="rId15" Type="http://schemas.openxmlformats.org/officeDocument/2006/relationships/image" Target="../media/image33.jpeg"/><Relationship Id="rId23" Type="http://schemas.openxmlformats.org/officeDocument/2006/relationships/image" Target="../media/image37.jpeg"/><Relationship Id="rId10" Type="http://schemas.microsoft.com/office/2007/relationships/hdphoto" Target="../media/hdphoto5.wdp"/><Relationship Id="rId19" Type="http://schemas.openxmlformats.org/officeDocument/2006/relationships/image" Target="../media/image35.jpeg"/><Relationship Id="rId4" Type="http://schemas.microsoft.com/office/2007/relationships/hdphoto" Target="../media/hdphoto2.wdp"/><Relationship Id="rId9" Type="http://schemas.openxmlformats.org/officeDocument/2006/relationships/image" Target="../media/image30.png"/><Relationship Id="rId14" Type="http://schemas.microsoft.com/office/2007/relationships/hdphoto" Target="../media/hdphoto7.wdp"/><Relationship Id="rId22" Type="http://schemas.microsoft.com/office/2007/relationships/hdphoto" Target="../media/hdphoto1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300" dirty="0" smtClean="0"/>
              <a:t>Solvent-less</a:t>
            </a:r>
            <a:r>
              <a:rPr lang="hr-HR" sz="3300" dirty="0" smtClean="0"/>
              <a:t> Water </a:t>
            </a:r>
            <a:r>
              <a:rPr lang="hr-HR" sz="3300" dirty="0" err="1" smtClean="0"/>
              <a:t>based</a:t>
            </a:r>
            <a:r>
              <a:rPr lang="en-GB" sz="3300" dirty="0" smtClean="0"/>
              <a:t> Inks </a:t>
            </a:r>
            <a:r>
              <a:rPr lang="en-GB" sz="3300" dirty="0"/>
              <a:t>for</a:t>
            </a:r>
            <a:br>
              <a:rPr lang="en-GB" sz="3300" dirty="0"/>
            </a:br>
            <a:r>
              <a:rPr lang="en-GB" sz="3300" dirty="0" smtClean="0"/>
              <a:t>Non Porous </a:t>
            </a:r>
            <a:r>
              <a:rPr lang="en-GB" sz="3300" dirty="0"/>
              <a:t>Substrates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08220" y="1631796"/>
            <a:ext cx="7444266" cy="515337"/>
          </a:xfrm>
        </p:spPr>
        <p:txBody>
          <a:bodyPr wrap="square">
            <a:spAutoFit/>
          </a:bodyPr>
          <a:lstStyle/>
          <a:p>
            <a:r>
              <a:rPr lang="hr-HR" dirty="0" smtClean="0"/>
              <a:t>Igor Belošić, MBA, M. </a:t>
            </a:r>
            <a:r>
              <a:rPr lang="hr-HR" dirty="0" err="1" smtClean="0"/>
              <a:t>Eng</a:t>
            </a:r>
            <a:r>
              <a:rPr lang="hr-HR" dirty="0" smtClean="0"/>
              <a:t>.</a:t>
            </a:r>
          </a:p>
          <a:p>
            <a:r>
              <a:rPr lang="hr-HR" dirty="0" err="1" smtClean="0"/>
              <a:t>Matjaž</a:t>
            </a:r>
            <a:r>
              <a:rPr lang="hr-HR" dirty="0" smtClean="0"/>
              <a:t> Mramor, DFTA</a:t>
            </a:r>
            <a:r>
              <a:rPr lang="en-US" dirty="0"/>
              <a:t/>
            </a:r>
            <a:br>
              <a:rPr lang="en-US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3651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328162" y="261258"/>
            <a:ext cx="4352725" cy="4311863"/>
            <a:chOff x="2328162" y="261258"/>
            <a:chExt cx="4352725" cy="4311863"/>
          </a:xfrm>
        </p:grpSpPr>
        <p:grpSp>
          <p:nvGrpSpPr>
            <p:cNvPr id="30" name="Group 29"/>
            <p:cNvGrpSpPr/>
            <p:nvPr/>
          </p:nvGrpSpPr>
          <p:grpSpPr>
            <a:xfrm>
              <a:off x="2328162" y="261258"/>
              <a:ext cx="4352725" cy="4311863"/>
              <a:chOff x="2328162" y="261258"/>
              <a:chExt cx="4352725" cy="4311863"/>
            </a:xfrm>
          </p:grpSpPr>
          <p:sp>
            <p:nvSpPr>
              <p:cNvPr id="26" name="Oval 25"/>
              <p:cNvSpPr/>
              <p:nvPr/>
            </p:nvSpPr>
            <p:spPr>
              <a:xfrm>
                <a:off x="2328162" y="1301756"/>
                <a:ext cx="2229788" cy="222978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7" name="Oval 26"/>
              <p:cNvSpPr/>
              <p:nvPr/>
            </p:nvSpPr>
            <p:spPr>
              <a:xfrm>
                <a:off x="3395158" y="261258"/>
                <a:ext cx="2229788" cy="222978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" name="Oval 27"/>
              <p:cNvSpPr/>
              <p:nvPr/>
            </p:nvSpPr>
            <p:spPr>
              <a:xfrm>
                <a:off x="4451099" y="1301756"/>
                <a:ext cx="2229788" cy="222978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" name="Oval 28"/>
              <p:cNvSpPr/>
              <p:nvPr/>
            </p:nvSpPr>
            <p:spPr>
              <a:xfrm>
                <a:off x="3395158" y="2343337"/>
                <a:ext cx="2229788" cy="222978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20" name="Oval 19"/>
            <p:cNvSpPr/>
            <p:nvPr/>
          </p:nvSpPr>
          <p:spPr>
            <a:xfrm>
              <a:off x="2418315" y="1407978"/>
              <a:ext cx="2049482" cy="2049478"/>
            </a:xfrm>
            <a:prstGeom prst="ellipse">
              <a:avLst/>
            </a:prstGeom>
            <a:noFill/>
            <a:ln w="25400">
              <a:gradFill flip="none" rotWithShape="1">
                <a:gsLst>
                  <a:gs pos="34000">
                    <a:schemeClr val="accent1">
                      <a:lumMod val="5000"/>
                      <a:lumOff val="95000"/>
                      <a:alpha val="0"/>
                    </a:schemeClr>
                  </a:gs>
                  <a:gs pos="100000">
                    <a:schemeClr val="bg1">
                      <a:lumMod val="75000"/>
                      <a:alpha val="42000"/>
                    </a:schemeClr>
                  </a:gs>
                </a:gsLst>
                <a:lin ang="10800000" scaled="1"/>
                <a:tileRect/>
              </a:gra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Oval 20"/>
            <p:cNvSpPr/>
            <p:nvPr/>
          </p:nvSpPr>
          <p:spPr>
            <a:xfrm>
              <a:off x="3485311" y="367480"/>
              <a:ext cx="2049482" cy="2049478"/>
            </a:xfrm>
            <a:prstGeom prst="ellipse">
              <a:avLst/>
            </a:prstGeom>
            <a:noFill/>
            <a:ln w="25400">
              <a:gradFill flip="none" rotWithShape="1">
                <a:gsLst>
                  <a:gs pos="34000">
                    <a:schemeClr val="accent1">
                      <a:lumMod val="5000"/>
                      <a:lumOff val="95000"/>
                      <a:alpha val="0"/>
                    </a:schemeClr>
                  </a:gs>
                  <a:gs pos="100000">
                    <a:schemeClr val="bg1">
                      <a:lumMod val="75000"/>
                      <a:alpha val="42000"/>
                    </a:schemeClr>
                  </a:gs>
                </a:gsLst>
                <a:lin ang="13500000" scaled="1"/>
                <a:tileRect/>
              </a:gra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Oval 21"/>
            <p:cNvSpPr/>
            <p:nvPr/>
          </p:nvSpPr>
          <p:spPr>
            <a:xfrm>
              <a:off x="4541252" y="1407978"/>
              <a:ext cx="2049482" cy="2049478"/>
            </a:xfrm>
            <a:prstGeom prst="ellipse">
              <a:avLst/>
            </a:prstGeom>
            <a:noFill/>
            <a:ln w="25400">
              <a:gradFill flip="none" rotWithShape="1">
                <a:gsLst>
                  <a:gs pos="34000">
                    <a:schemeClr val="accent1">
                      <a:lumMod val="5000"/>
                      <a:lumOff val="95000"/>
                      <a:alpha val="0"/>
                    </a:schemeClr>
                  </a:gs>
                  <a:gs pos="100000">
                    <a:schemeClr val="bg1">
                      <a:lumMod val="75000"/>
                      <a:alpha val="42000"/>
                    </a:schemeClr>
                  </a:gs>
                </a:gsLst>
                <a:lin ang="18900000" scaled="1"/>
                <a:tileRect/>
              </a:gra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Oval 22"/>
            <p:cNvSpPr/>
            <p:nvPr/>
          </p:nvSpPr>
          <p:spPr>
            <a:xfrm>
              <a:off x="3485311" y="2449559"/>
              <a:ext cx="2049482" cy="2049478"/>
            </a:xfrm>
            <a:prstGeom prst="ellipse">
              <a:avLst/>
            </a:prstGeom>
            <a:noFill/>
            <a:ln w="25400">
              <a:gradFill flip="none" rotWithShape="1">
                <a:gsLst>
                  <a:gs pos="34000">
                    <a:schemeClr val="accent1">
                      <a:lumMod val="5000"/>
                      <a:lumOff val="95000"/>
                      <a:alpha val="0"/>
                    </a:schemeClr>
                  </a:gs>
                  <a:gs pos="100000">
                    <a:schemeClr val="bg1">
                      <a:lumMod val="75000"/>
                      <a:alpha val="42000"/>
                    </a:schemeClr>
                  </a:gs>
                </a:gsLst>
                <a:lin ang="2700000" scaled="1"/>
                <a:tileRect/>
              </a:gra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" name="Oval 3"/>
            <p:cNvSpPr/>
            <p:nvPr/>
          </p:nvSpPr>
          <p:spPr>
            <a:xfrm>
              <a:off x="2512126" y="1485719"/>
              <a:ext cx="1861859" cy="1861857"/>
            </a:xfrm>
            <a:prstGeom prst="ellipse">
              <a:avLst/>
            </a:prstGeom>
            <a:solidFill>
              <a:schemeClr val="accent2">
                <a:alpha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584150" y="2000893"/>
              <a:ext cx="1381349" cy="831510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US" sz="1600" dirty="0">
                  <a:solidFill>
                    <a:schemeClr val="bg1"/>
                  </a:solidFill>
                </a:rPr>
                <a:t>Water-based Electron Beam (EB) cured ink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3579122" y="445221"/>
              <a:ext cx="1861859" cy="1861857"/>
            </a:xfrm>
            <a:prstGeom prst="ellipse">
              <a:avLst/>
            </a:prstGeom>
            <a:solidFill>
              <a:schemeClr val="accent3">
                <a:alpha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819377" y="806988"/>
              <a:ext cx="1381349" cy="6468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GB" sz="1600" dirty="0">
                  <a:solidFill>
                    <a:schemeClr val="bg1"/>
                  </a:solidFill>
                </a:rPr>
                <a:t>Water-</a:t>
              </a:r>
              <a:br>
                <a:rPr lang="en-GB" sz="1600" dirty="0">
                  <a:solidFill>
                    <a:schemeClr val="bg1"/>
                  </a:solidFill>
                </a:rPr>
              </a:br>
              <a:r>
                <a:rPr lang="en-GB" sz="1600" dirty="0">
                  <a:solidFill>
                    <a:schemeClr val="bg1"/>
                  </a:solidFill>
                </a:rPr>
                <a:t>based</a:t>
              </a:r>
              <a:br>
                <a:rPr lang="en-GB" sz="1600" dirty="0">
                  <a:solidFill>
                    <a:schemeClr val="bg1"/>
                  </a:solidFill>
                </a:rPr>
              </a:br>
              <a:r>
                <a:rPr lang="en-GB" sz="1600" dirty="0">
                  <a:solidFill>
                    <a:schemeClr val="bg1"/>
                  </a:solidFill>
                </a:rPr>
                <a:t>inks</a:t>
              </a:r>
            </a:p>
          </p:txBody>
        </p:sp>
        <p:sp>
          <p:nvSpPr>
            <p:cNvPr id="10" name="Oval 9"/>
            <p:cNvSpPr/>
            <p:nvPr/>
          </p:nvSpPr>
          <p:spPr>
            <a:xfrm>
              <a:off x="4635063" y="1485719"/>
              <a:ext cx="1861859" cy="1861857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099519" y="2094226"/>
              <a:ext cx="1381349" cy="64684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US" sz="1600" dirty="0">
                  <a:solidFill>
                    <a:schemeClr val="bg1"/>
                  </a:solidFill>
                </a:rPr>
                <a:t>Electron Beam (EB) cured inks</a:t>
              </a:r>
            </a:p>
          </p:txBody>
        </p:sp>
        <p:sp>
          <p:nvSpPr>
            <p:cNvPr id="13" name="Oval 12"/>
            <p:cNvSpPr/>
            <p:nvPr/>
          </p:nvSpPr>
          <p:spPr>
            <a:xfrm>
              <a:off x="3579122" y="2527300"/>
              <a:ext cx="1861859" cy="1861857"/>
            </a:xfrm>
            <a:prstGeom prst="ellipse">
              <a:avLst/>
            </a:prstGeom>
            <a:solidFill>
              <a:schemeClr val="tx2">
                <a:alpha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819378" y="3580146"/>
              <a:ext cx="1381349" cy="2775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GB" sz="1600" dirty="0" err="1">
                  <a:solidFill>
                    <a:schemeClr val="bg1"/>
                  </a:solidFill>
                </a:rPr>
                <a:t>Wetflex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-1" y="0"/>
            <a:ext cx="9144000" cy="5143500"/>
            <a:chOff x="-1" y="0"/>
            <a:chExt cx="9144000" cy="5143500"/>
          </a:xfrm>
        </p:grpSpPr>
        <p:sp>
          <p:nvSpPr>
            <p:cNvPr id="80" name="Freeform 79"/>
            <p:cNvSpPr/>
            <p:nvPr/>
          </p:nvSpPr>
          <p:spPr>
            <a:xfrm>
              <a:off x="-1" y="0"/>
              <a:ext cx="9144000" cy="5143500"/>
            </a:xfrm>
            <a:custGeom>
              <a:avLst/>
              <a:gdLst>
                <a:gd name="connsiteX0" fmla="*/ 0 w 9144000"/>
                <a:gd name="connsiteY0" fmla="*/ 0 h 5143500"/>
                <a:gd name="connsiteX1" fmla="*/ 9144000 w 9144000"/>
                <a:gd name="connsiteY1" fmla="*/ 0 h 5143500"/>
                <a:gd name="connsiteX2" fmla="*/ 9144000 w 9144000"/>
                <a:gd name="connsiteY2" fmla="*/ 3857658 h 5143500"/>
                <a:gd name="connsiteX3" fmla="*/ 9144000 w 9144000"/>
                <a:gd name="connsiteY3" fmla="*/ 5143500 h 5143500"/>
                <a:gd name="connsiteX4" fmla="*/ 1207363 w 9144000"/>
                <a:gd name="connsiteY4" fmla="*/ 5143500 h 5143500"/>
                <a:gd name="connsiteX5" fmla="*/ 1207363 w 9144000"/>
                <a:gd name="connsiteY5" fmla="*/ 3857658 h 5143500"/>
                <a:gd name="connsiteX6" fmla="*/ 0 w 9144000"/>
                <a:gd name="connsiteY6" fmla="*/ 3857658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44000" h="5143500">
                  <a:moveTo>
                    <a:pt x="0" y="0"/>
                  </a:moveTo>
                  <a:lnTo>
                    <a:pt x="9144000" y="0"/>
                  </a:lnTo>
                  <a:lnTo>
                    <a:pt x="9144000" y="3857658"/>
                  </a:lnTo>
                  <a:lnTo>
                    <a:pt x="9144000" y="5143500"/>
                  </a:lnTo>
                  <a:lnTo>
                    <a:pt x="1207363" y="5143500"/>
                  </a:lnTo>
                  <a:lnTo>
                    <a:pt x="1207363" y="3857658"/>
                  </a:lnTo>
                  <a:lnTo>
                    <a:pt x="0" y="38576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2" name="Group 61"/>
            <p:cNvGrpSpPr>
              <a:grpSpLocks noChangeAspect="1"/>
            </p:cNvGrpSpPr>
            <p:nvPr/>
          </p:nvGrpSpPr>
          <p:grpSpPr>
            <a:xfrm>
              <a:off x="6961378" y="0"/>
              <a:ext cx="2133226" cy="2113200"/>
              <a:chOff x="2328162" y="261258"/>
              <a:chExt cx="4352725" cy="4311863"/>
            </a:xfrm>
          </p:grpSpPr>
          <p:grpSp>
            <p:nvGrpSpPr>
              <p:cNvPr id="63" name="Group 62"/>
              <p:cNvGrpSpPr/>
              <p:nvPr/>
            </p:nvGrpSpPr>
            <p:grpSpPr>
              <a:xfrm>
                <a:off x="2328162" y="261258"/>
                <a:ext cx="4352725" cy="4311863"/>
                <a:chOff x="2328162" y="261258"/>
                <a:chExt cx="4352725" cy="4311863"/>
              </a:xfrm>
            </p:grpSpPr>
            <p:sp>
              <p:nvSpPr>
                <p:cNvPr id="76" name="Oval 75"/>
                <p:cNvSpPr/>
                <p:nvPr/>
              </p:nvSpPr>
              <p:spPr>
                <a:xfrm>
                  <a:off x="2328162" y="1301756"/>
                  <a:ext cx="2229788" cy="2229784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  <p:sp>
              <p:nvSpPr>
                <p:cNvPr id="77" name="Oval 76"/>
                <p:cNvSpPr/>
                <p:nvPr/>
              </p:nvSpPr>
              <p:spPr>
                <a:xfrm>
                  <a:off x="3395158" y="261258"/>
                  <a:ext cx="2229788" cy="2229784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  <p:sp>
              <p:nvSpPr>
                <p:cNvPr id="78" name="Oval 77"/>
                <p:cNvSpPr/>
                <p:nvPr/>
              </p:nvSpPr>
              <p:spPr>
                <a:xfrm>
                  <a:off x="4451099" y="1301756"/>
                  <a:ext cx="2229788" cy="2229784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  <p:sp>
              <p:nvSpPr>
                <p:cNvPr id="79" name="Oval 78"/>
                <p:cNvSpPr/>
                <p:nvPr/>
              </p:nvSpPr>
              <p:spPr>
                <a:xfrm>
                  <a:off x="3395158" y="2343337"/>
                  <a:ext cx="2229788" cy="2229784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800"/>
                </a:p>
              </p:txBody>
            </p:sp>
          </p:grpSp>
          <p:sp>
            <p:nvSpPr>
              <p:cNvPr id="64" name="Oval 63"/>
              <p:cNvSpPr/>
              <p:nvPr/>
            </p:nvSpPr>
            <p:spPr>
              <a:xfrm>
                <a:off x="2418315" y="1407978"/>
                <a:ext cx="2049482" cy="2049478"/>
              </a:xfrm>
              <a:prstGeom prst="ellipse">
                <a:avLst/>
              </a:prstGeom>
              <a:noFill/>
              <a:ln w="25400">
                <a:gradFill flip="none" rotWithShape="1">
                  <a:gsLst>
                    <a:gs pos="3400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100000">
                      <a:schemeClr val="bg1">
                        <a:lumMod val="75000"/>
                        <a:alpha val="42000"/>
                      </a:schemeClr>
                    </a:gs>
                  </a:gsLst>
                  <a:lin ang="10800000" scaled="1"/>
                  <a:tileRect/>
                </a:gra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"/>
              </a:p>
            </p:txBody>
          </p:sp>
          <p:sp>
            <p:nvSpPr>
              <p:cNvPr id="65" name="Oval 64"/>
              <p:cNvSpPr/>
              <p:nvPr/>
            </p:nvSpPr>
            <p:spPr>
              <a:xfrm>
                <a:off x="3485311" y="367480"/>
                <a:ext cx="2049482" cy="2049478"/>
              </a:xfrm>
              <a:prstGeom prst="ellipse">
                <a:avLst/>
              </a:prstGeom>
              <a:noFill/>
              <a:ln w="25400">
                <a:gradFill flip="none" rotWithShape="1">
                  <a:gsLst>
                    <a:gs pos="3400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100000">
                      <a:schemeClr val="bg1">
                        <a:lumMod val="75000"/>
                        <a:alpha val="42000"/>
                      </a:schemeClr>
                    </a:gs>
                  </a:gsLst>
                  <a:lin ang="13500000" scaled="1"/>
                  <a:tileRect/>
                </a:gra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"/>
              </a:p>
            </p:txBody>
          </p:sp>
          <p:sp>
            <p:nvSpPr>
              <p:cNvPr id="66" name="Oval 65"/>
              <p:cNvSpPr/>
              <p:nvPr/>
            </p:nvSpPr>
            <p:spPr>
              <a:xfrm>
                <a:off x="4541252" y="1407978"/>
                <a:ext cx="2049482" cy="2049478"/>
              </a:xfrm>
              <a:prstGeom prst="ellipse">
                <a:avLst/>
              </a:prstGeom>
              <a:noFill/>
              <a:ln w="25400">
                <a:gradFill flip="none" rotWithShape="1">
                  <a:gsLst>
                    <a:gs pos="3400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100000">
                      <a:schemeClr val="bg1">
                        <a:lumMod val="75000"/>
                        <a:alpha val="42000"/>
                      </a:schemeClr>
                    </a:gs>
                  </a:gsLst>
                  <a:lin ang="18900000" scaled="1"/>
                  <a:tileRect/>
                </a:gra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"/>
              </a:p>
            </p:txBody>
          </p:sp>
          <p:sp>
            <p:nvSpPr>
              <p:cNvPr id="67" name="Oval 66"/>
              <p:cNvSpPr/>
              <p:nvPr/>
            </p:nvSpPr>
            <p:spPr>
              <a:xfrm>
                <a:off x="3485311" y="2449559"/>
                <a:ext cx="2049482" cy="2049478"/>
              </a:xfrm>
              <a:prstGeom prst="ellipse">
                <a:avLst/>
              </a:prstGeom>
              <a:noFill/>
              <a:ln w="25400">
                <a:gradFill flip="none" rotWithShape="1">
                  <a:gsLst>
                    <a:gs pos="3400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100000">
                      <a:schemeClr val="bg1">
                        <a:lumMod val="75000"/>
                        <a:alpha val="42000"/>
                      </a:schemeClr>
                    </a:gs>
                  </a:gsLst>
                  <a:lin ang="2700000" scaled="1"/>
                  <a:tileRect/>
                </a:gra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"/>
              </a:p>
            </p:txBody>
          </p:sp>
          <p:sp>
            <p:nvSpPr>
              <p:cNvPr id="68" name="Oval 67"/>
              <p:cNvSpPr/>
              <p:nvPr/>
            </p:nvSpPr>
            <p:spPr>
              <a:xfrm>
                <a:off x="2512126" y="1485719"/>
                <a:ext cx="1861859" cy="1861857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b="1"/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>
                <a:off x="2467016" y="1945643"/>
                <a:ext cx="1615618" cy="942001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spAutoFit/>
              </a:bodyPr>
              <a:lstStyle/>
              <a:p>
                <a:pPr algn="ctr">
                  <a:lnSpc>
                    <a:spcPct val="75000"/>
                  </a:lnSpc>
                </a:pPr>
                <a:r>
                  <a:rPr lang="en-US" sz="800" dirty="0">
                    <a:solidFill>
                      <a:schemeClr val="bg1"/>
                    </a:solidFill>
                  </a:rPr>
                  <a:t>Water-based Electron Beam (EB) cured inks</a:t>
                </a:r>
              </a:p>
            </p:txBody>
          </p:sp>
          <p:sp>
            <p:nvSpPr>
              <p:cNvPr id="72" name="Oval 71"/>
              <p:cNvSpPr/>
              <p:nvPr/>
            </p:nvSpPr>
            <p:spPr>
              <a:xfrm>
                <a:off x="4635063" y="1485719"/>
                <a:ext cx="1861859" cy="1861857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b="1" dirty="0"/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5031469" y="2040846"/>
                <a:ext cx="1517453" cy="753601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spAutoFit/>
              </a:bodyPr>
              <a:lstStyle/>
              <a:p>
                <a:pPr algn="ctr">
                  <a:lnSpc>
                    <a:spcPct val="75000"/>
                  </a:lnSpc>
                </a:pPr>
                <a:r>
                  <a:rPr lang="en-US" sz="800" dirty="0">
                    <a:solidFill>
                      <a:schemeClr val="bg1"/>
                    </a:solidFill>
                  </a:rPr>
                  <a:t>Electron Beam (EB) cured inks</a:t>
                </a:r>
              </a:p>
            </p:txBody>
          </p:sp>
          <p:sp>
            <p:nvSpPr>
              <p:cNvPr id="74" name="Oval 73"/>
              <p:cNvSpPr/>
              <p:nvPr/>
            </p:nvSpPr>
            <p:spPr>
              <a:xfrm>
                <a:off x="3579122" y="2527300"/>
                <a:ext cx="1861859" cy="1861857"/>
              </a:xfrm>
              <a:prstGeom prst="ellipse">
                <a:avLst/>
              </a:prstGeom>
              <a:solidFill>
                <a:schemeClr val="bg1">
                  <a:lumMod val="75000"/>
                  <a:alpha val="44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b="1"/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3751328" y="3580146"/>
                <a:ext cx="1517453" cy="3773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75000"/>
                  </a:lnSpc>
                </a:pPr>
                <a:r>
                  <a:rPr lang="en-GB" sz="800" dirty="0" err="1">
                    <a:solidFill>
                      <a:schemeClr val="bg1"/>
                    </a:solidFill>
                  </a:rPr>
                  <a:t>Wetflex</a:t>
                </a:r>
                <a:endParaRPr lang="en-GB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Oval 69"/>
              <p:cNvSpPr/>
              <p:nvPr/>
            </p:nvSpPr>
            <p:spPr>
              <a:xfrm>
                <a:off x="3579122" y="445221"/>
                <a:ext cx="1861859" cy="1861857"/>
              </a:xfrm>
              <a:prstGeom prst="ellipse">
                <a:avLst/>
              </a:prstGeom>
              <a:solidFill>
                <a:schemeClr val="accent3">
                  <a:alpha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"/>
              </a:p>
            </p:txBody>
          </p:sp>
          <p:sp>
            <p:nvSpPr>
              <p:cNvPr id="71" name="TextBox 70"/>
              <p:cNvSpPr txBox="1"/>
              <p:nvPr/>
            </p:nvSpPr>
            <p:spPr>
              <a:xfrm>
                <a:off x="3751326" y="806989"/>
                <a:ext cx="1517453" cy="7541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75000"/>
                  </a:lnSpc>
                </a:pPr>
                <a:r>
                  <a:rPr lang="en-GB" sz="800" dirty="0">
                    <a:solidFill>
                      <a:schemeClr val="bg1"/>
                    </a:solidFill>
                  </a:rPr>
                  <a:t>Water-</a:t>
                </a:r>
                <a:br>
                  <a:rPr lang="en-GB" sz="800" dirty="0">
                    <a:solidFill>
                      <a:schemeClr val="bg1"/>
                    </a:solidFill>
                  </a:rPr>
                </a:br>
                <a:r>
                  <a:rPr lang="en-GB" sz="800" dirty="0">
                    <a:solidFill>
                      <a:schemeClr val="bg1"/>
                    </a:solidFill>
                  </a:rPr>
                  <a:t>based</a:t>
                </a:r>
                <a:br>
                  <a:rPr lang="en-GB" sz="800" dirty="0">
                    <a:solidFill>
                      <a:schemeClr val="bg1"/>
                    </a:solidFill>
                  </a:rPr>
                </a:br>
                <a:r>
                  <a:rPr lang="en-GB" sz="800" dirty="0">
                    <a:solidFill>
                      <a:schemeClr val="bg1"/>
                    </a:solidFill>
                  </a:rPr>
                  <a:t>inks</a:t>
                </a:r>
              </a:p>
            </p:txBody>
          </p:sp>
        </p:grpSp>
      </p:grpSp>
      <p:sp>
        <p:nvSpPr>
          <p:cNvPr id="96" name="Oval 6"/>
          <p:cNvSpPr/>
          <p:nvPr/>
        </p:nvSpPr>
        <p:spPr>
          <a:xfrm>
            <a:off x="2746432" y="1494970"/>
            <a:ext cx="2620622" cy="2620620"/>
          </a:xfrm>
          <a:prstGeom prst="ellipse">
            <a:avLst/>
          </a:prstGeom>
          <a:solidFill>
            <a:schemeClr val="accent3">
              <a:alpha val="2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/>
          </a:p>
        </p:txBody>
      </p:sp>
      <p:sp>
        <p:nvSpPr>
          <p:cNvPr id="97" name="Oval 6"/>
          <p:cNvSpPr/>
          <p:nvPr/>
        </p:nvSpPr>
        <p:spPr>
          <a:xfrm>
            <a:off x="2900084" y="1648621"/>
            <a:ext cx="2313317" cy="2313317"/>
          </a:xfrm>
          <a:prstGeom prst="ellipse">
            <a:avLst/>
          </a:prstGeom>
          <a:solidFill>
            <a:schemeClr val="accent3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/>
          </a:p>
        </p:txBody>
      </p:sp>
      <p:sp>
        <p:nvSpPr>
          <p:cNvPr id="98" name="Text Placeholder 9"/>
          <p:cNvSpPr txBox="1">
            <a:spLocks/>
          </p:cNvSpPr>
          <p:nvPr/>
        </p:nvSpPr>
        <p:spPr>
          <a:xfrm>
            <a:off x="3362190" y="2557629"/>
            <a:ext cx="1389104" cy="495300"/>
          </a:xfrm>
        </p:spPr>
        <p:txBody>
          <a:bodyPr anchor="ctr" anchorCtr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100" b="1" dirty="0">
                <a:solidFill>
                  <a:schemeClr val="bg1"/>
                </a:solidFill>
              </a:rPr>
              <a:t>Water-</a:t>
            </a:r>
            <a:br>
              <a:rPr lang="en-GB" sz="2100" b="1" dirty="0">
                <a:solidFill>
                  <a:schemeClr val="bg1"/>
                </a:solidFill>
              </a:rPr>
            </a:br>
            <a:r>
              <a:rPr lang="en-GB" sz="2100" b="1" dirty="0">
                <a:solidFill>
                  <a:schemeClr val="bg1"/>
                </a:solidFill>
              </a:rPr>
              <a:t>based Inks</a:t>
            </a:r>
          </a:p>
        </p:txBody>
      </p:sp>
      <p:sp>
        <p:nvSpPr>
          <p:cNvPr id="99" name="Rectangle 18"/>
          <p:cNvSpPr/>
          <p:nvPr/>
        </p:nvSpPr>
        <p:spPr>
          <a:xfrm>
            <a:off x="2796712" y="1020484"/>
            <a:ext cx="258577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A </a:t>
            </a:r>
            <a:r>
              <a:rPr lang="en-GB" sz="1600" b="1" dirty="0"/>
              <a:t>cost effective </a:t>
            </a:r>
            <a:r>
              <a:rPr lang="en-GB" sz="1600" dirty="0"/>
              <a:t>option</a:t>
            </a:r>
          </a:p>
        </p:txBody>
      </p:sp>
      <p:sp>
        <p:nvSpPr>
          <p:cNvPr id="100" name="Rectangle 152"/>
          <p:cNvSpPr/>
          <p:nvPr/>
        </p:nvSpPr>
        <p:spPr>
          <a:xfrm>
            <a:off x="3830619" y="1354755"/>
            <a:ext cx="452246" cy="452244"/>
          </a:xfrm>
          <a:prstGeom prst="ellipse">
            <a:avLst/>
          </a:prstGeom>
          <a:solidFill>
            <a:schemeClr val="bg1"/>
          </a:solidFill>
          <a:ln w="349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1" name="Rectangle 18"/>
          <p:cNvSpPr/>
          <p:nvPr/>
        </p:nvSpPr>
        <p:spPr>
          <a:xfrm>
            <a:off x="5592622" y="2041269"/>
            <a:ext cx="2585771" cy="58477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GB" sz="1600" dirty="0"/>
              <a:t>Can be printed on </a:t>
            </a:r>
            <a:r>
              <a:rPr lang="en-GB" sz="1600" b="1" dirty="0"/>
              <a:t>existing presses</a:t>
            </a:r>
          </a:p>
        </p:txBody>
      </p:sp>
      <p:sp>
        <p:nvSpPr>
          <p:cNvPr id="102" name="Rectangle 152"/>
          <p:cNvSpPr/>
          <p:nvPr/>
        </p:nvSpPr>
        <p:spPr>
          <a:xfrm>
            <a:off x="5023562" y="2082987"/>
            <a:ext cx="452246" cy="452244"/>
          </a:xfrm>
          <a:prstGeom prst="ellipse">
            <a:avLst/>
          </a:prstGeom>
          <a:solidFill>
            <a:schemeClr val="bg1"/>
          </a:solidFill>
          <a:ln w="349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3" name="Rectangle 18"/>
          <p:cNvSpPr/>
          <p:nvPr/>
        </p:nvSpPr>
        <p:spPr>
          <a:xfrm>
            <a:off x="5592125" y="2550259"/>
            <a:ext cx="3064010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oost air flow for higher speeds </a:t>
            </a:r>
          </a:p>
        </p:txBody>
      </p:sp>
      <p:sp>
        <p:nvSpPr>
          <p:cNvPr id="104" name="Rectangle 18"/>
          <p:cNvSpPr/>
          <p:nvPr/>
        </p:nvSpPr>
        <p:spPr>
          <a:xfrm>
            <a:off x="5592622" y="3069412"/>
            <a:ext cx="2585771" cy="58477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en-US" sz="1600" dirty="0"/>
              <a:t>Suitable for </a:t>
            </a:r>
            <a:r>
              <a:rPr lang="en-US" sz="1600" dirty="0" err="1"/>
              <a:t>Flexo</a:t>
            </a:r>
            <a:r>
              <a:rPr lang="en-US" sz="1600" dirty="0"/>
              <a:t> and Gravure</a:t>
            </a:r>
          </a:p>
        </p:txBody>
      </p:sp>
      <p:sp>
        <p:nvSpPr>
          <p:cNvPr id="105" name="Rectangle 152"/>
          <p:cNvSpPr/>
          <p:nvPr/>
        </p:nvSpPr>
        <p:spPr>
          <a:xfrm>
            <a:off x="5023562" y="3111130"/>
            <a:ext cx="452246" cy="452244"/>
          </a:xfrm>
          <a:prstGeom prst="ellipse">
            <a:avLst/>
          </a:prstGeom>
          <a:solidFill>
            <a:schemeClr val="bg1"/>
          </a:solidFill>
          <a:ln w="349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6" name="Rectangle 18"/>
          <p:cNvSpPr/>
          <p:nvPr/>
        </p:nvSpPr>
        <p:spPr>
          <a:xfrm>
            <a:off x="2763856" y="4242487"/>
            <a:ext cx="2585771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algn="ctr"/>
            <a:r>
              <a:rPr lang="en-US" sz="1600" dirty="0"/>
              <a:t>Suited to lamination</a:t>
            </a:r>
          </a:p>
        </p:txBody>
      </p:sp>
      <p:sp>
        <p:nvSpPr>
          <p:cNvPr id="107" name="Rectangle 152"/>
          <p:cNvSpPr/>
          <p:nvPr/>
        </p:nvSpPr>
        <p:spPr>
          <a:xfrm>
            <a:off x="3830619" y="3799069"/>
            <a:ext cx="452246" cy="452244"/>
          </a:xfrm>
          <a:prstGeom prst="ellipse">
            <a:avLst/>
          </a:prstGeom>
          <a:solidFill>
            <a:schemeClr val="bg1"/>
          </a:solidFill>
          <a:ln w="349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8" name="Rectangle 18"/>
          <p:cNvSpPr/>
          <p:nvPr/>
        </p:nvSpPr>
        <p:spPr>
          <a:xfrm>
            <a:off x="38211" y="3076127"/>
            <a:ext cx="2585771" cy="58477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algn="r"/>
            <a:r>
              <a:rPr lang="en-GB" sz="1600" dirty="0"/>
              <a:t>Excellent for</a:t>
            </a:r>
            <a:br>
              <a:rPr lang="en-GB" sz="1600" dirty="0"/>
            </a:br>
            <a:r>
              <a:rPr lang="en-GB" sz="1600" dirty="0"/>
              <a:t>process printing</a:t>
            </a:r>
          </a:p>
        </p:txBody>
      </p:sp>
      <p:sp>
        <p:nvSpPr>
          <p:cNvPr id="109" name="Rectangle 152"/>
          <p:cNvSpPr/>
          <p:nvPr/>
        </p:nvSpPr>
        <p:spPr>
          <a:xfrm>
            <a:off x="2637393" y="3117845"/>
            <a:ext cx="452246" cy="452244"/>
          </a:xfrm>
          <a:prstGeom prst="ellipse">
            <a:avLst/>
          </a:prstGeom>
          <a:solidFill>
            <a:schemeClr val="bg1"/>
          </a:solidFill>
          <a:ln w="349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0" name="Rectangle 18"/>
          <p:cNvSpPr/>
          <p:nvPr/>
        </p:nvSpPr>
        <p:spPr>
          <a:xfrm>
            <a:off x="19297" y="3616911"/>
            <a:ext cx="2585771" cy="307777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algn="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D also an option</a:t>
            </a:r>
          </a:p>
        </p:txBody>
      </p:sp>
      <p:sp>
        <p:nvSpPr>
          <p:cNvPr id="111" name="Rectangle 18"/>
          <p:cNvSpPr/>
          <p:nvPr/>
        </p:nvSpPr>
        <p:spPr>
          <a:xfrm>
            <a:off x="61090" y="1302607"/>
            <a:ext cx="2585771" cy="206210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algn="r"/>
            <a:r>
              <a:rPr lang="fr-FR" sz="1600" dirty="0" err="1"/>
              <a:t>Resistant</a:t>
            </a:r>
            <a:r>
              <a:rPr lang="fr-FR" sz="1600" dirty="0"/>
              <a:t> surface </a:t>
            </a:r>
            <a:r>
              <a:rPr lang="fr-FR" sz="1600" dirty="0" err="1"/>
              <a:t>print</a:t>
            </a:r>
            <a:r>
              <a:rPr lang="fr-FR" sz="1600" dirty="0"/>
              <a:t> options </a:t>
            </a:r>
            <a:r>
              <a:rPr lang="fr-FR" sz="1600" dirty="0" err="1" smtClean="0"/>
              <a:t>available</a:t>
            </a:r>
            <a:r>
              <a:rPr lang="hr-HR" sz="1600" dirty="0" smtClean="0"/>
              <a:t>(</a:t>
            </a:r>
            <a:r>
              <a:rPr lang="hr-HR" sz="1600" dirty="0" err="1" smtClean="0"/>
              <a:t>after</a:t>
            </a:r>
            <a:r>
              <a:rPr lang="hr-HR" sz="1600" dirty="0" smtClean="0"/>
              <a:t> </a:t>
            </a:r>
            <a:r>
              <a:rPr lang="hr-HR" sz="1600" dirty="0" err="1" smtClean="0"/>
              <a:t>polimerisation</a:t>
            </a:r>
            <a:r>
              <a:rPr lang="hr-HR" sz="1600" dirty="0" smtClean="0"/>
              <a:t> </a:t>
            </a:r>
            <a:r>
              <a:rPr lang="hr-HR" sz="1600" dirty="0" err="1" smtClean="0"/>
              <a:t>like</a:t>
            </a:r>
            <a:r>
              <a:rPr lang="hr-HR" sz="1600" dirty="0" smtClean="0"/>
              <a:t> „</a:t>
            </a:r>
            <a:r>
              <a:rPr lang="hr-HR" sz="1600" dirty="0" err="1" smtClean="0"/>
              <a:t>glass</a:t>
            </a:r>
            <a:r>
              <a:rPr lang="hr-HR" sz="1600" dirty="0" smtClean="0"/>
              <a:t>” on </a:t>
            </a:r>
            <a:r>
              <a:rPr lang="hr-HR" sz="1600" dirty="0" err="1" smtClean="0"/>
              <a:t>surface-excellent</a:t>
            </a:r>
            <a:r>
              <a:rPr lang="hr-HR" sz="1600" dirty="0" smtClean="0"/>
              <a:t> </a:t>
            </a:r>
            <a:r>
              <a:rPr lang="hr-HR" sz="1600" dirty="0" err="1" smtClean="0"/>
              <a:t>adhesion</a:t>
            </a:r>
            <a:r>
              <a:rPr lang="hr-HR" sz="1600" dirty="0" smtClean="0"/>
              <a:t>, </a:t>
            </a:r>
            <a:r>
              <a:rPr lang="hr-HR" sz="1600" dirty="0" err="1" smtClean="0"/>
              <a:t>scratch</a:t>
            </a:r>
            <a:r>
              <a:rPr lang="hr-HR" sz="1600" dirty="0" smtClean="0"/>
              <a:t> </a:t>
            </a:r>
            <a:r>
              <a:rPr lang="hr-HR" sz="1600" dirty="0" err="1" smtClean="0"/>
              <a:t>resistance</a:t>
            </a:r>
            <a:r>
              <a:rPr lang="hr-HR" sz="1600" dirty="0" smtClean="0"/>
              <a:t>, </a:t>
            </a:r>
            <a:r>
              <a:rPr lang="hr-HR" sz="1600" dirty="0" err="1" smtClean="0"/>
              <a:t>fett</a:t>
            </a:r>
            <a:r>
              <a:rPr lang="hr-HR" sz="1600" dirty="0" smtClean="0"/>
              <a:t> </a:t>
            </a:r>
            <a:r>
              <a:rPr lang="hr-HR" sz="1600" dirty="0" err="1" smtClean="0"/>
              <a:t>resistance</a:t>
            </a:r>
            <a:r>
              <a:rPr lang="hr-HR" sz="1600" dirty="0" smtClean="0"/>
              <a:t>, water </a:t>
            </a:r>
            <a:r>
              <a:rPr lang="hr-HR" sz="1600" dirty="0" err="1" smtClean="0"/>
              <a:t>resistance</a:t>
            </a:r>
            <a:r>
              <a:rPr lang="hr-HR" sz="1600" dirty="0" smtClean="0"/>
              <a:t>)</a:t>
            </a:r>
          </a:p>
          <a:p>
            <a:pPr algn="r"/>
            <a:endParaRPr lang="fr-FR" sz="1600" dirty="0"/>
          </a:p>
        </p:txBody>
      </p:sp>
      <p:sp>
        <p:nvSpPr>
          <p:cNvPr id="112" name="Rectangle 152"/>
          <p:cNvSpPr/>
          <p:nvPr/>
        </p:nvSpPr>
        <p:spPr>
          <a:xfrm>
            <a:off x="2622668" y="2107536"/>
            <a:ext cx="452246" cy="452244"/>
          </a:xfrm>
          <a:prstGeom prst="ellipse">
            <a:avLst/>
          </a:prstGeom>
          <a:solidFill>
            <a:schemeClr val="bg1"/>
          </a:solidFill>
          <a:ln w="349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3" name="Freeform 19"/>
          <p:cNvSpPr>
            <a:spLocks/>
          </p:cNvSpPr>
          <p:nvPr/>
        </p:nvSpPr>
        <p:spPr bwMode="auto">
          <a:xfrm>
            <a:off x="5160782" y="2229828"/>
            <a:ext cx="206834" cy="158560"/>
          </a:xfrm>
          <a:custGeom>
            <a:avLst/>
            <a:gdLst>
              <a:gd name="T0" fmla="*/ 332 w 338"/>
              <a:gd name="T1" fmla="*/ 61 h 258"/>
              <a:gd name="T2" fmla="*/ 332 w 338"/>
              <a:gd name="T3" fmla="*/ 39 h 258"/>
              <a:gd name="T4" fmla="*/ 300 w 338"/>
              <a:gd name="T5" fmla="*/ 7 h 258"/>
              <a:gd name="T6" fmla="*/ 277 w 338"/>
              <a:gd name="T7" fmla="*/ 7 h 258"/>
              <a:gd name="T8" fmla="*/ 141 w 338"/>
              <a:gd name="T9" fmla="*/ 143 h 258"/>
              <a:gd name="T10" fmla="*/ 118 w 338"/>
              <a:gd name="T11" fmla="*/ 143 h 258"/>
              <a:gd name="T12" fmla="*/ 61 w 338"/>
              <a:gd name="T13" fmla="*/ 86 h 258"/>
              <a:gd name="T14" fmla="*/ 38 w 338"/>
              <a:gd name="T15" fmla="*/ 86 h 258"/>
              <a:gd name="T16" fmla="*/ 6 w 338"/>
              <a:gd name="T17" fmla="*/ 118 h 258"/>
              <a:gd name="T18" fmla="*/ 6 w 338"/>
              <a:gd name="T19" fmla="*/ 141 h 258"/>
              <a:gd name="T20" fmla="*/ 117 w 338"/>
              <a:gd name="T21" fmla="*/ 252 h 258"/>
              <a:gd name="T22" fmla="*/ 140 w 338"/>
              <a:gd name="T23" fmla="*/ 252 h 258"/>
              <a:gd name="T24" fmla="*/ 332 w 338"/>
              <a:gd name="T25" fmla="*/ 61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8" h="258">
                <a:moveTo>
                  <a:pt x="332" y="61"/>
                </a:moveTo>
                <a:cubicBezTo>
                  <a:pt x="338" y="55"/>
                  <a:pt x="338" y="45"/>
                  <a:pt x="332" y="39"/>
                </a:cubicBezTo>
                <a:cubicBezTo>
                  <a:pt x="300" y="7"/>
                  <a:pt x="300" y="7"/>
                  <a:pt x="300" y="7"/>
                </a:cubicBezTo>
                <a:cubicBezTo>
                  <a:pt x="294" y="0"/>
                  <a:pt x="283" y="0"/>
                  <a:pt x="277" y="7"/>
                </a:cubicBezTo>
                <a:cubicBezTo>
                  <a:pt x="141" y="143"/>
                  <a:pt x="141" y="143"/>
                  <a:pt x="141" y="143"/>
                </a:cubicBezTo>
                <a:cubicBezTo>
                  <a:pt x="135" y="149"/>
                  <a:pt x="124" y="149"/>
                  <a:pt x="118" y="143"/>
                </a:cubicBezTo>
                <a:cubicBezTo>
                  <a:pt x="61" y="86"/>
                  <a:pt x="61" y="86"/>
                  <a:pt x="61" y="86"/>
                </a:cubicBezTo>
                <a:cubicBezTo>
                  <a:pt x="55" y="80"/>
                  <a:pt x="44" y="80"/>
                  <a:pt x="38" y="86"/>
                </a:cubicBezTo>
                <a:cubicBezTo>
                  <a:pt x="6" y="118"/>
                  <a:pt x="6" y="118"/>
                  <a:pt x="6" y="118"/>
                </a:cubicBezTo>
                <a:cubicBezTo>
                  <a:pt x="0" y="124"/>
                  <a:pt x="0" y="134"/>
                  <a:pt x="6" y="141"/>
                </a:cubicBezTo>
                <a:cubicBezTo>
                  <a:pt x="117" y="252"/>
                  <a:pt x="117" y="252"/>
                  <a:pt x="117" y="252"/>
                </a:cubicBezTo>
                <a:cubicBezTo>
                  <a:pt x="123" y="258"/>
                  <a:pt x="133" y="258"/>
                  <a:pt x="140" y="252"/>
                </a:cubicBezTo>
                <a:lnTo>
                  <a:pt x="332" y="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Freeform 19"/>
          <p:cNvSpPr>
            <a:spLocks/>
          </p:cNvSpPr>
          <p:nvPr/>
        </p:nvSpPr>
        <p:spPr bwMode="auto">
          <a:xfrm>
            <a:off x="3953325" y="1501596"/>
            <a:ext cx="206834" cy="158560"/>
          </a:xfrm>
          <a:custGeom>
            <a:avLst/>
            <a:gdLst>
              <a:gd name="T0" fmla="*/ 332 w 338"/>
              <a:gd name="T1" fmla="*/ 61 h 258"/>
              <a:gd name="T2" fmla="*/ 332 w 338"/>
              <a:gd name="T3" fmla="*/ 39 h 258"/>
              <a:gd name="T4" fmla="*/ 300 w 338"/>
              <a:gd name="T5" fmla="*/ 7 h 258"/>
              <a:gd name="T6" fmla="*/ 277 w 338"/>
              <a:gd name="T7" fmla="*/ 7 h 258"/>
              <a:gd name="T8" fmla="*/ 141 w 338"/>
              <a:gd name="T9" fmla="*/ 143 h 258"/>
              <a:gd name="T10" fmla="*/ 118 w 338"/>
              <a:gd name="T11" fmla="*/ 143 h 258"/>
              <a:gd name="T12" fmla="*/ 61 w 338"/>
              <a:gd name="T13" fmla="*/ 86 h 258"/>
              <a:gd name="T14" fmla="*/ 38 w 338"/>
              <a:gd name="T15" fmla="*/ 86 h 258"/>
              <a:gd name="T16" fmla="*/ 6 w 338"/>
              <a:gd name="T17" fmla="*/ 118 h 258"/>
              <a:gd name="T18" fmla="*/ 6 w 338"/>
              <a:gd name="T19" fmla="*/ 141 h 258"/>
              <a:gd name="T20" fmla="*/ 117 w 338"/>
              <a:gd name="T21" fmla="*/ 252 h 258"/>
              <a:gd name="T22" fmla="*/ 140 w 338"/>
              <a:gd name="T23" fmla="*/ 252 h 258"/>
              <a:gd name="T24" fmla="*/ 332 w 338"/>
              <a:gd name="T25" fmla="*/ 61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8" h="258">
                <a:moveTo>
                  <a:pt x="332" y="61"/>
                </a:moveTo>
                <a:cubicBezTo>
                  <a:pt x="338" y="55"/>
                  <a:pt x="338" y="45"/>
                  <a:pt x="332" y="39"/>
                </a:cubicBezTo>
                <a:cubicBezTo>
                  <a:pt x="300" y="7"/>
                  <a:pt x="300" y="7"/>
                  <a:pt x="300" y="7"/>
                </a:cubicBezTo>
                <a:cubicBezTo>
                  <a:pt x="294" y="0"/>
                  <a:pt x="283" y="0"/>
                  <a:pt x="277" y="7"/>
                </a:cubicBezTo>
                <a:cubicBezTo>
                  <a:pt x="141" y="143"/>
                  <a:pt x="141" y="143"/>
                  <a:pt x="141" y="143"/>
                </a:cubicBezTo>
                <a:cubicBezTo>
                  <a:pt x="135" y="149"/>
                  <a:pt x="124" y="149"/>
                  <a:pt x="118" y="143"/>
                </a:cubicBezTo>
                <a:cubicBezTo>
                  <a:pt x="61" y="86"/>
                  <a:pt x="61" y="86"/>
                  <a:pt x="61" y="86"/>
                </a:cubicBezTo>
                <a:cubicBezTo>
                  <a:pt x="55" y="80"/>
                  <a:pt x="44" y="80"/>
                  <a:pt x="38" y="86"/>
                </a:cubicBezTo>
                <a:cubicBezTo>
                  <a:pt x="6" y="118"/>
                  <a:pt x="6" y="118"/>
                  <a:pt x="6" y="118"/>
                </a:cubicBezTo>
                <a:cubicBezTo>
                  <a:pt x="0" y="124"/>
                  <a:pt x="0" y="134"/>
                  <a:pt x="6" y="141"/>
                </a:cubicBezTo>
                <a:cubicBezTo>
                  <a:pt x="117" y="252"/>
                  <a:pt x="117" y="252"/>
                  <a:pt x="117" y="252"/>
                </a:cubicBezTo>
                <a:cubicBezTo>
                  <a:pt x="123" y="258"/>
                  <a:pt x="133" y="258"/>
                  <a:pt x="140" y="252"/>
                </a:cubicBezTo>
                <a:lnTo>
                  <a:pt x="332" y="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Freeform 19"/>
          <p:cNvSpPr>
            <a:spLocks/>
          </p:cNvSpPr>
          <p:nvPr/>
        </p:nvSpPr>
        <p:spPr bwMode="auto">
          <a:xfrm>
            <a:off x="5160782" y="3257971"/>
            <a:ext cx="206834" cy="158560"/>
          </a:xfrm>
          <a:custGeom>
            <a:avLst/>
            <a:gdLst>
              <a:gd name="T0" fmla="*/ 332 w 338"/>
              <a:gd name="T1" fmla="*/ 61 h 258"/>
              <a:gd name="T2" fmla="*/ 332 w 338"/>
              <a:gd name="T3" fmla="*/ 39 h 258"/>
              <a:gd name="T4" fmla="*/ 300 w 338"/>
              <a:gd name="T5" fmla="*/ 7 h 258"/>
              <a:gd name="T6" fmla="*/ 277 w 338"/>
              <a:gd name="T7" fmla="*/ 7 h 258"/>
              <a:gd name="T8" fmla="*/ 141 w 338"/>
              <a:gd name="T9" fmla="*/ 143 h 258"/>
              <a:gd name="T10" fmla="*/ 118 w 338"/>
              <a:gd name="T11" fmla="*/ 143 h 258"/>
              <a:gd name="T12" fmla="*/ 61 w 338"/>
              <a:gd name="T13" fmla="*/ 86 h 258"/>
              <a:gd name="T14" fmla="*/ 38 w 338"/>
              <a:gd name="T15" fmla="*/ 86 h 258"/>
              <a:gd name="T16" fmla="*/ 6 w 338"/>
              <a:gd name="T17" fmla="*/ 118 h 258"/>
              <a:gd name="T18" fmla="*/ 6 w 338"/>
              <a:gd name="T19" fmla="*/ 141 h 258"/>
              <a:gd name="T20" fmla="*/ 117 w 338"/>
              <a:gd name="T21" fmla="*/ 252 h 258"/>
              <a:gd name="T22" fmla="*/ 140 w 338"/>
              <a:gd name="T23" fmla="*/ 252 h 258"/>
              <a:gd name="T24" fmla="*/ 332 w 338"/>
              <a:gd name="T25" fmla="*/ 61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8" h="258">
                <a:moveTo>
                  <a:pt x="332" y="61"/>
                </a:moveTo>
                <a:cubicBezTo>
                  <a:pt x="338" y="55"/>
                  <a:pt x="338" y="45"/>
                  <a:pt x="332" y="39"/>
                </a:cubicBezTo>
                <a:cubicBezTo>
                  <a:pt x="300" y="7"/>
                  <a:pt x="300" y="7"/>
                  <a:pt x="300" y="7"/>
                </a:cubicBezTo>
                <a:cubicBezTo>
                  <a:pt x="294" y="0"/>
                  <a:pt x="283" y="0"/>
                  <a:pt x="277" y="7"/>
                </a:cubicBezTo>
                <a:cubicBezTo>
                  <a:pt x="141" y="143"/>
                  <a:pt x="141" y="143"/>
                  <a:pt x="141" y="143"/>
                </a:cubicBezTo>
                <a:cubicBezTo>
                  <a:pt x="135" y="149"/>
                  <a:pt x="124" y="149"/>
                  <a:pt x="118" y="143"/>
                </a:cubicBezTo>
                <a:cubicBezTo>
                  <a:pt x="61" y="86"/>
                  <a:pt x="61" y="86"/>
                  <a:pt x="61" y="86"/>
                </a:cubicBezTo>
                <a:cubicBezTo>
                  <a:pt x="55" y="80"/>
                  <a:pt x="44" y="80"/>
                  <a:pt x="38" y="86"/>
                </a:cubicBezTo>
                <a:cubicBezTo>
                  <a:pt x="6" y="118"/>
                  <a:pt x="6" y="118"/>
                  <a:pt x="6" y="118"/>
                </a:cubicBezTo>
                <a:cubicBezTo>
                  <a:pt x="0" y="124"/>
                  <a:pt x="0" y="134"/>
                  <a:pt x="6" y="141"/>
                </a:cubicBezTo>
                <a:cubicBezTo>
                  <a:pt x="117" y="252"/>
                  <a:pt x="117" y="252"/>
                  <a:pt x="117" y="252"/>
                </a:cubicBezTo>
                <a:cubicBezTo>
                  <a:pt x="123" y="258"/>
                  <a:pt x="133" y="258"/>
                  <a:pt x="140" y="252"/>
                </a:cubicBezTo>
                <a:lnTo>
                  <a:pt x="332" y="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Freeform 19"/>
          <p:cNvSpPr>
            <a:spLocks/>
          </p:cNvSpPr>
          <p:nvPr/>
        </p:nvSpPr>
        <p:spPr bwMode="auto">
          <a:xfrm>
            <a:off x="3953325" y="3941498"/>
            <a:ext cx="206834" cy="158560"/>
          </a:xfrm>
          <a:custGeom>
            <a:avLst/>
            <a:gdLst>
              <a:gd name="T0" fmla="*/ 332 w 338"/>
              <a:gd name="T1" fmla="*/ 61 h 258"/>
              <a:gd name="T2" fmla="*/ 332 w 338"/>
              <a:gd name="T3" fmla="*/ 39 h 258"/>
              <a:gd name="T4" fmla="*/ 300 w 338"/>
              <a:gd name="T5" fmla="*/ 7 h 258"/>
              <a:gd name="T6" fmla="*/ 277 w 338"/>
              <a:gd name="T7" fmla="*/ 7 h 258"/>
              <a:gd name="T8" fmla="*/ 141 w 338"/>
              <a:gd name="T9" fmla="*/ 143 h 258"/>
              <a:gd name="T10" fmla="*/ 118 w 338"/>
              <a:gd name="T11" fmla="*/ 143 h 258"/>
              <a:gd name="T12" fmla="*/ 61 w 338"/>
              <a:gd name="T13" fmla="*/ 86 h 258"/>
              <a:gd name="T14" fmla="*/ 38 w 338"/>
              <a:gd name="T15" fmla="*/ 86 h 258"/>
              <a:gd name="T16" fmla="*/ 6 w 338"/>
              <a:gd name="T17" fmla="*/ 118 h 258"/>
              <a:gd name="T18" fmla="*/ 6 w 338"/>
              <a:gd name="T19" fmla="*/ 141 h 258"/>
              <a:gd name="T20" fmla="*/ 117 w 338"/>
              <a:gd name="T21" fmla="*/ 252 h 258"/>
              <a:gd name="T22" fmla="*/ 140 w 338"/>
              <a:gd name="T23" fmla="*/ 252 h 258"/>
              <a:gd name="T24" fmla="*/ 332 w 338"/>
              <a:gd name="T25" fmla="*/ 61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8" h="258">
                <a:moveTo>
                  <a:pt x="332" y="61"/>
                </a:moveTo>
                <a:cubicBezTo>
                  <a:pt x="338" y="55"/>
                  <a:pt x="338" y="45"/>
                  <a:pt x="332" y="39"/>
                </a:cubicBezTo>
                <a:cubicBezTo>
                  <a:pt x="300" y="7"/>
                  <a:pt x="300" y="7"/>
                  <a:pt x="300" y="7"/>
                </a:cubicBezTo>
                <a:cubicBezTo>
                  <a:pt x="294" y="0"/>
                  <a:pt x="283" y="0"/>
                  <a:pt x="277" y="7"/>
                </a:cubicBezTo>
                <a:cubicBezTo>
                  <a:pt x="141" y="143"/>
                  <a:pt x="141" y="143"/>
                  <a:pt x="141" y="143"/>
                </a:cubicBezTo>
                <a:cubicBezTo>
                  <a:pt x="135" y="149"/>
                  <a:pt x="124" y="149"/>
                  <a:pt x="118" y="143"/>
                </a:cubicBezTo>
                <a:cubicBezTo>
                  <a:pt x="61" y="86"/>
                  <a:pt x="61" y="86"/>
                  <a:pt x="61" y="86"/>
                </a:cubicBezTo>
                <a:cubicBezTo>
                  <a:pt x="55" y="80"/>
                  <a:pt x="44" y="80"/>
                  <a:pt x="38" y="86"/>
                </a:cubicBezTo>
                <a:cubicBezTo>
                  <a:pt x="6" y="118"/>
                  <a:pt x="6" y="118"/>
                  <a:pt x="6" y="118"/>
                </a:cubicBezTo>
                <a:cubicBezTo>
                  <a:pt x="0" y="124"/>
                  <a:pt x="0" y="134"/>
                  <a:pt x="6" y="141"/>
                </a:cubicBezTo>
                <a:cubicBezTo>
                  <a:pt x="117" y="252"/>
                  <a:pt x="117" y="252"/>
                  <a:pt x="117" y="252"/>
                </a:cubicBezTo>
                <a:cubicBezTo>
                  <a:pt x="123" y="258"/>
                  <a:pt x="133" y="258"/>
                  <a:pt x="140" y="252"/>
                </a:cubicBezTo>
                <a:lnTo>
                  <a:pt x="332" y="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Freeform 19"/>
          <p:cNvSpPr>
            <a:spLocks/>
          </p:cNvSpPr>
          <p:nvPr/>
        </p:nvSpPr>
        <p:spPr bwMode="auto">
          <a:xfrm>
            <a:off x="2745374" y="3257971"/>
            <a:ext cx="206834" cy="158560"/>
          </a:xfrm>
          <a:custGeom>
            <a:avLst/>
            <a:gdLst>
              <a:gd name="T0" fmla="*/ 332 w 338"/>
              <a:gd name="T1" fmla="*/ 61 h 258"/>
              <a:gd name="T2" fmla="*/ 332 w 338"/>
              <a:gd name="T3" fmla="*/ 39 h 258"/>
              <a:gd name="T4" fmla="*/ 300 w 338"/>
              <a:gd name="T5" fmla="*/ 7 h 258"/>
              <a:gd name="T6" fmla="*/ 277 w 338"/>
              <a:gd name="T7" fmla="*/ 7 h 258"/>
              <a:gd name="T8" fmla="*/ 141 w 338"/>
              <a:gd name="T9" fmla="*/ 143 h 258"/>
              <a:gd name="T10" fmla="*/ 118 w 338"/>
              <a:gd name="T11" fmla="*/ 143 h 258"/>
              <a:gd name="T12" fmla="*/ 61 w 338"/>
              <a:gd name="T13" fmla="*/ 86 h 258"/>
              <a:gd name="T14" fmla="*/ 38 w 338"/>
              <a:gd name="T15" fmla="*/ 86 h 258"/>
              <a:gd name="T16" fmla="*/ 6 w 338"/>
              <a:gd name="T17" fmla="*/ 118 h 258"/>
              <a:gd name="T18" fmla="*/ 6 w 338"/>
              <a:gd name="T19" fmla="*/ 141 h 258"/>
              <a:gd name="T20" fmla="*/ 117 w 338"/>
              <a:gd name="T21" fmla="*/ 252 h 258"/>
              <a:gd name="T22" fmla="*/ 140 w 338"/>
              <a:gd name="T23" fmla="*/ 252 h 258"/>
              <a:gd name="T24" fmla="*/ 332 w 338"/>
              <a:gd name="T25" fmla="*/ 61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8" h="258">
                <a:moveTo>
                  <a:pt x="332" y="61"/>
                </a:moveTo>
                <a:cubicBezTo>
                  <a:pt x="338" y="55"/>
                  <a:pt x="338" y="45"/>
                  <a:pt x="332" y="39"/>
                </a:cubicBezTo>
                <a:cubicBezTo>
                  <a:pt x="300" y="7"/>
                  <a:pt x="300" y="7"/>
                  <a:pt x="300" y="7"/>
                </a:cubicBezTo>
                <a:cubicBezTo>
                  <a:pt x="294" y="0"/>
                  <a:pt x="283" y="0"/>
                  <a:pt x="277" y="7"/>
                </a:cubicBezTo>
                <a:cubicBezTo>
                  <a:pt x="141" y="143"/>
                  <a:pt x="141" y="143"/>
                  <a:pt x="141" y="143"/>
                </a:cubicBezTo>
                <a:cubicBezTo>
                  <a:pt x="135" y="149"/>
                  <a:pt x="124" y="149"/>
                  <a:pt x="118" y="143"/>
                </a:cubicBezTo>
                <a:cubicBezTo>
                  <a:pt x="61" y="86"/>
                  <a:pt x="61" y="86"/>
                  <a:pt x="61" y="86"/>
                </a:cubicBezTo>
                <a:cubicBezTo>
                  <a:pt x="55" y="80"/>
                  <a:pt x="44" y="80"/>
                  <a:pt x="38" y="86"/>
                </a:cubicBezTo>
                <a:cubicBezTo>
                  <a:pt x="6" y="118"/>
                  <a:pt x="6" y="118"/>
                  <a:pt x="6" y="118"/>
                </a:cubicBezTo>
                <a:cubicBezTo>
                  <a:pt x="0" y="124"/>
                  <a:pt x="0" y="134"/>
                  <a:pt x="6" y="141"/>
                </a:cubicBezTo>
                <a:cubicBezTo>
                  <a:pt x="117" y="252"/>
                  <a:pt x="117" y="252"/>
                  <a:pt x="117" y="252"/>
                </a:cubicBezTo>
                <a:cubicBezTo>
                  <a:pt x="123" y="258"/>
                  <a:pt x="133" y="258"/>
                  <a:pt x="140" y="252"/>
                </a:cubicBezTo>
                <a:lnTo>
                  <a:pt x="332" y="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Freeform 19"/>
          <p:cNvSpPr>
            <a:spLocks/>
          </p:cNvSpPr>
          <p:nvPr/>
        </p:nvSpPr>
        <p:spPr bwMode="auto">
          <a:xfrm>
            <a:off x="2745374" y="2229828"/>
            <a:ext cx="206834" cy="158560"/>
          </a:xfrm>
          <a:custGeom>
            <a:avLst/>
            <a:gdLst>
              <a:gd name="T0" fmla="*/ 332 w 338"/>
              <a:gd name="T1" fmla="*/ 61 h 258"/>
              <a:gd name="T2" fmla="*/ 332 w 338"/>
              <a:gd name="T3" fmla="*/ 39 h 258"/>
              <a:gd name="T4" fmla="*/ 300 w 338"/>
              <a:gd name="T5" fmla="*/ 7 h 258"/>
              <a:gd name="T6" fmla="*/ 277 w 338"/>
              <a:gd name="T7" fmla="*/ 7 h 258"/>
              <a:gd name="T8" fmla="*/ 141 w 338"/>
              <a:gd name="T9" fmla="*/ 143 h 258"/>
              <a:gd name="T10" fmla="*/ 118 w 338"/>
              <a:gd name="T11" fmla="*/ 143 h 258"/>
              <a:gd name="T12" fmla="*/ 61 w 338"/>
              <a:gd name="T13" fmla="*/ 86 h 258"/>
              <a:gd name="T14" fmla="*/ 38 w 338"/>
              <a:gd name="T15" fmla="*/ 86 h 258"/>
              <a:gd name="T16" fmla="*/ 6 w 338"/>
              <a:gd name="T17" fmla="*/ 118 h 258"/>
              <a:gd name="T18" fmla="*/ 6 w 338"/>
              <a:gd name="T19" fmla="*/ 141 h 258"/>
              <a:gd name="T20" fmla="*/ 117 w 338"/>
              <a:gd name="T21" fmla="*/ 252 h 258"/>
              <a:gd name="T22" fmla="*/ 140 w 338"/>
              <a:gd name="T23" fmla="*/ 252 h 258"/>
              <a:gd name="T24" fmla="*/ 332 w 338"/>
              <a:gd name="T25" fmla="*/ 61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8" h="258">
                <a:moveTo>
                  <a:pt x="332" y="61"/>
                </a:moveTo>
                <a:cubicBezTo>
                  <a:pt x="338" y="55"/>
                  <a:pt x="338" y="45"/>
                  <a:pt x="332" y="39"/>
                </a:cubicBezTo>
                <a:cubicBezTo>
                  <a:pt x="300" y="7"/>
                  <a:pt x="300" y="7"/>
                  <a:pt x="300" y="7"/>
                </a:cubicBezTo>
                <a:cubicBezTo>
                  <a:pt x="294" y="0"/>
                  <a:pt x="283" y="0"/>
                  <a:pt x="277" y="7"/>
                </a:cubicBezTo>
                <a:cubicBezTo>
                  <a:pt x="141" y="143"/>
                  <a:pt x="141" y="143"/>
                  <a:pt x="141" y="143"/>
                </a:cubicBezTo>
                <a:cubicBezTo>
                  <a:pt x="135" y="149"/>
                  <a:pt x="124" y="149"/>
                  <a:pt x="118" y="143"/>
                </a:cubicBezTo>
                <a:cubicBezTo>
                  <a:pt x="61" y="86"/>
                  <a:pt x="61" y="86"/>
                  <a:pt x="61" y="86"/>
                </a:cubicBezTo>
                <a:cubicBezTo>
                  <a:pt x="55" y="80"/>
                  <a:pt x="44" y="80"/>
                  <a:pt x="38" y="86"/>
                </a:cubicBezTo>
                <a:cubicBezTo>
                  <a:pt x="6" y="118"/>
                  <a:pt x="6" y="118"/>
                  <a:pt x="6" y="118"/>
                </a:cubicBezTo>
                <a:cubicBezTo>
                  <a:pt x="0" y="124"/>
                  <a:pt x="0" y="134"/>
                  <a:pt x="6" y="141"/>
                </a:cubicBezTo>
                <a:cubicBezTo>
                  <a:pt x="117" y="252"/>
                  <a:pt x="117" y="252"/>
                  <a:pt x="117" y="252"/>
                </a:cubicBezTo>
                <a:cubicBezTo>
                  <a:pt x="123" y="258"/>
                  <a:pt x="133" y="258"/>
                  <a:pt x="140" y="252"/>
                </a:cubicBezTo>
                <a:lnTo>
                  <a:pt x="332" y="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04800" y="207402"/>
            <a:ext cx="8443664" cy="400110"/>
          </a:xfrm>
        </p:spPr>
        <p:txBody>
          <a:bodyPr/>
          <a:lstStyle/>
          <a:p>
            <a:r>
              <a:rPr lang="en-GB" dirty="0"/>
              <a:t>What Does Each Technology Offer?</a:t>
            </a:r>
          </a:p>
        </p:txBody>
      </p:sp>
    </p:spTree>
    <p:extLst>
      <p:ext uri="{BB962C8B-B14F-4D97-AF65-F5344CB8AC3E}">
        <p14:creationId xmlns:p14="http://schemas.microsoft.com/office/powerpoint/2010/main" val="132823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2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7284E-6 L 0.38542 -0.26482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976" y="-1284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3" presetClass="entr" presetSubtype="28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500"/>
                            </p:stCondLst>
                            <p:childTnLst>
                              <p:par>
                                <p:cTn id="4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500"/>
                            </p:stCondLst>
                            <p:childTnLst>
                              <p:par>
                                <p:cTn id="7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6500"/>
                            </p:stCondLst>
                            <p:childTnLst>
                              <p:par>
                                <p:cTn id="8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7500"/>
                            </p:stCondLst>
                            <p:childTnLst>
                              <p:par>
                                <p:cTn id="10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" grpId="0" animBg="1"/>
      <p:bldP spid="96" grpId="1" animBg="1"/>
      <p:bldP spid="97" grpId="0" animBg="1"/>
      <p:bldP spid="98" grpId="0"/>
      <p:bldP spid="99" grpId="0"/>
      <p:bldP spid="100" grpId="0" animBg="1"/>
      <p:bldP spid="101" grpId="0"/>
      <p:bldP spid="102" grpId="0" animBg="1"/>
      <p:bldP spid="103" grpId="0"/>
      <p:bldP spid="104" grpId="0"/>
      <p:bldP spid="105" grpId="0" animBg="1"/>
      <p:bldP spid="106" grpId="0"/>
      <p:bldP spid="107" grpId="0" animBg="1"/>
      <p:bldP spid="108" grpId="0"/>
      <p:bldP spid="109" grpId="0" animBg="1"/>
      <p:bldP spid="110" grpId="0"/>
      <p:bldP spid="111" grpId="0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</a:t>
            </a:r>
          </a:p>
        </p:txBody>
      </p:sp>
      <p:grpSp>
        <p:nvGrpSpPr>
          <p:cNvPr id="5" name="Group 80"/>
          <p:cNvGrpSpPr/>
          <p:nvPr/>
        </p:nvGrpSpPr>
        <p:grpSpPr>
          <a:xfrm>
            <a:off x="387743" y="1161328"/>
            <a:ext cx="1158028" cy="1158028"/>
            <a:chOff x="971600" y="2787774"/>
            <a:chExt cx="863798" cy="863798"/>
          </a:xfrm>
        </p:grpSpPr>
        <p:sp>
          <p:nvSpPr>
            <p:cNvPr id="6" name="Rectangle 5"/>
            <p:cNvSpPr/>
            <p:nvPr/>
          </p:nvSpPr>
          <p:spPr>
            <a:xfrm>
              <a:off x="971600" y="2787774"/>
              <a:ext cx="863798" cy="86379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" name="Freeform 6"/>
            <p:cNvSpPr/>
            <p:nvPr/>
          </p:nvSpPr>
          <p:spPr bwMode="auto">
            <a:xfrm>
              <a:off x="1187624" y="3092473"/>
              <a:ext cx="305713" cy="452249"/>
            </a:xfrm>
            <a:custGeom>
              <a:avLst/>
              <a:gdLst>
                <a:gd name="connsiteX0" fmla="*/ 552450 w 1123950"/>
                <a:gd name="connsiteY0" fmla="*/ 0 h 2047875"/>
                <a:gd name="connsiteX1" fmla="*/ 0 w 1123950"/>
                <a:gd name="connsiteY1" fmla="*/ 1466850 h 2047875"/>
                <a:gd name="connsiteX2" fmla="*/ 495300 w 1123950"/>
                <a:gd name="connsiteY2" fmla="*/ 2047875 h 2047875"/>
                <a:gd name="connsiteX3" fmla="*/ 1123950 w 1123950"/>
                <a:gd name="connsiteY3" fmla="*/ 1476375 h 2047875"/>
                <a:gd name="connsiteX0" fmla="*/ 552450 w 1123950"/>
                <a:gd name="connsiteY0" fmla="*/ 0 h 2047875"/>
                <a:gd name="connsiteX1" fmla="*/ 0 w 1123950"/>
                <a:gd name="connsiteY1" fmla="*/ 1466850 h 2047875"/>
                <a:gd name="connsiteX2" fmla="*/ 495300 w 1123950"/>
                <a:gd name="connsiteY2" fmla="*/ 2047875 h 2047875"/>
                <a:gd name="connsiteX3" fmla="*/ 1123950 w 1123950"/>
                <a:gd name="connsiteY3" fmla="*/ 1476375 h 2047875"/>
                <a:gd name="connsiteX4" fmla="*/ 552450 w 1123950"/>
                <a:gd name="connsiteY4" fmla="*/ 0 h 2047875"/>
                <a:gd name="connsiteX0" fmla="*/ 479425 w 1050925"/>
                <a:gd name="connsiteY0" fmla="*/ 0 h 2047875"/>
                <a:gd name="connsiteX1" fmla="*/ 0 w 1050925"/>
                <a:gd name="connsiteY1" fmla="*/ 1158875 h 2047875"/>
                <a:gd name="connsiteX2" fmla="*/ 422275 w 1050925"/>
                <a:gd name="connsiteY2" fmla="*/ 2047875 h 2047875"/>
                <a:gd name="connsiteX3" fmla="*/ 1050925 w 1050925"/>
                <a:gd name="connsiteY3" fmla="*/ 1476375 h 2047875"/>
                <a:gd name="connsiteX4" fmla="*/ 479425 w 1050925"/>
                <a:gd name="connsiteY4" fmla="*/ 0 h 2047875"/>
                <a:gd name="connsiteX0" fmla="*/ 479425 w 1016000"/>
                <a:gd name="connsiteY0" fmla="*/ 0 h 2047875"/>
                <a:gd name="connsiteX1" fmla="*/ 0 w 1016000"/>
                <a:gd name="connsiteY1" fmla="*/ 1158875 h 2047875"/>
                <a:gd name="connsiteX2" fmla="*/ 422275 w 1016000"/>
                <a:gd name="connsiteY2" fmla="*/ 2047875 h 2047875"/>
                <a:gd name="connsiteX3" fmla="*/ 1016000 w 1016000"/>
                <a:gd name="connsiteY3" fmla="*/ 1187450 h 2047875"/>
                <a:gd name="connsiteX4" fmla="*/ 479425 w 1016000"/>
                <a:gd name="connsiteY4" fmla="*/ 0 h 2047875"/>
                <a:gd name="connsiteX0" fmla="*/ 479425 w 1016000"/>
                <a:gd name="connsiteY0" fmla="*/ 0 h 2047875"/>
                <a:gd name="connsiteX1" fmla="*/ 0 w 1016000"/>
                <a:gd name="connsiteY1" fmla="*/ 1158875 h 2047875"/>
                <a:gd name="connsiteX2" fmla="*/ 422275 w 1016000"/>
                <a:gd name="connsiteY2" fmla="*/ 2047875 h 2047875"/>
                <a:gd name="connsiteX3" fmla="*/ 1016000 w 1016000"/>
                <a:gd name="connsiteY3" fmla="*/ 1187450 h 2047875"/>
                <a:gd name="connsiteX4" fmla="*/ 479425 w 1016000"/>
                <a:gd name="connsiteY4" fmla="*/ 0 h 2047875"/>
                <a:gd name="connsiteX0" fmla="*/ 659342 w 1195917"/>
                <a:gd name="connsiteY0" fmla="*/ 0 h 2047875"/>
                <a:gd name="connsiteX1" fmla="*/ 179917 w 1195917"/>
                <a:gd name="connsiteY1" fmla="*/ 1158875 h 2047875"/>
                <a:gd name="connsiteX2" fmla="*/ 602192 w 1195917"/>
                <a:gd name="connsiteY2" fmla="*/ 2047875 h 2047875"/>
                <a:gd name="connsiteX3" fmla="*/ 1195917 w 1195917"/>
                <a:gd name="connsiteY3" fmla="*/ 1187450 h 2047875"/>
                <a:gd name="connsiteX4" fmla="*/ 659342 w 1195917"/>
                <a:gd name="connsiteY4" fmla="*/ 0 h 2047875"/>
                <a:gd name="connsiteX0" fmla="*/ 659342 w 1195917"/>
                <a:gd name="connsiteY0" fmla="*/ 0 h 2047875"/>
                <a:gd name="connsiteX1" fmla="*/ 179917 w 1195917"/>
                <a:gd name="connsiteY1" fmla="*/ 1158875 h 2047875"/>
                <a:gd name="connsiteX2" fmla="*/ 602192 w 1195917"/>
                <a:gd name="connsiteY2" fmla="*/ 2047875 h 2047875"/>
                <a:gd name="connsiteX3" fmla="*/ 1195917 w 1195917"/>
                <a:gd name="connsiteY3" fmla="*/ 1187450 h 2047875"/>
                <a:gd name="connsiteX4" fmla="*/ 659342 w 1195917"/>
                <a:gd name="connsiteY4" fmla="*/ 0 h 2047875"/>
                <a:gd name="connsiteX0" fmla="*/ 659342 w 1312334"/>
                <a:gd name="connsiteY0" fmla="*/ 0 h 2047875"/>
                <a:gd name="connsiteX1" fmla="*/ 179917 w 1312334"/>
                <a:gd name="connsiteY1" fmla="*/ 1158875 h 2047875"/>
                <a:gd name="connsiteX2" fmla="*/ 602192 w 1312334"/>
                <a:gd name="connsiteY2" fmla="*/ 2047875 h 2047875"/>
                <a:gd name="connsiteX3" fmla="*/ 1195917 w 1312334"/>
                <a:gd name="connsiteY3" fmla="*/ 1187450 h 2047875"/>
                <a:gd name="connsiteX4" fmla="*/ 659342 w 1312334"/>
                <a:gd name="connsiteY4" fmla="*/ 0 h 2047875"/>
                <a:gd name="connsiteX0" fmla="*/ 659342 w 1312334"/>
                <a:gd name="connsiteY0" fmla="*/ 0 h 2054225"/>
                <a:gd name="connsiteX1" fmla="*/ 179917 w 1312334"/>
                <a:gd name="connsiteY1" fmla="*/ 1158875 h 2054225"/>
                <a:gd name="connsiteX2" fmla="*/ 649817 w 1312334"/>
                <a:gd name="connsiteY2" fmla="*/ 2054225 h 2054225"/>
                <a:gd name="connsiteX3" fmla="*/ 1195917 w 1312334"/>
                <a:gd name="connsiteY3" fmla="*/ 1187450 h 2054225"/>
                <a:gd name="connsiteX4" fmla="*/ 659342 w 1312334"/>
                <a:gd name="connsiteY4" fmla="*/ 0 h 2054225"/>
                <a:gd name="connsiteX0" fmla="*/ 659342 w 1312334"/>
                <a:gd name="connsiteY0" fmla="*/ 0 h 2044700"/>
                <a:gd name="connsiteX1" fmla="*/ 179917 w 1312334"/>
                <a:gd name="connsiteY1" fmla="*/ 1158875 h 2044700"/>
                <a:gd name="connsiteX2" fmla="*/ 649817 w 1312334"/>
                <a:gd name="connsiteY2" fmla="*/ 2044700 h 2044700"/>
                <a:gd name="connsiteX3" fmla="*/ 1195917 w 1312334"/>
                <a:gd name="connsiteY3" fmla="*/ 1187450 h 2044700"/>
                <a:gd name="connsiteX4" fmla="*/ 659342 w 13123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18684"/>
                <a:gd name="connsiteY0" fmla="*/ 0 h 2044700"/>
                <a:gd name="connsiteX1" fmla="*/ 205317 w 1318684"/>
                <a:gd name="connsiteY1" fmla="*/ 1158875 h 2044700"/>
                <a:gd name="connsiteX2" fmla="*/ 675217 w 1318684"/>
                <a:gd name="connsiteY2" fmla="*/ 2044700 h 2044700"/>
                <a:gd name="connsiteX3" fmla="*/ 1202267 w 1318684"/>
                <a:gd name="connsiteY3" fmla="*/ 1187450 h 2044700"/>
                <a:gd name="connsiteX4" fmla="*/ 684742 w 1318684"/>
                <a:gd name="connsiteY4" fmla="*/ 0 h 2044700"/>
                <a:gd name="connsiteX0" fmla="*/ 684742 w 1382184"/>
                <a:gd name="connsiteY0" fmla="*/ 0 h 2044700"/>
                <a:gd name="connsiteX1" fmla="*/ 205317 w 1382184"/>
                <a:gd name="connsiteY1" fmla="*/ 1158875 h 2044700"/>
                <a:gd name="connsiteX2" fmla="*/ 675217 w 1382184"/>
                <a:gd name="connsiteY2" fmla="*/ 2044700 h 2044700"/>
                <a:gd name="connsiteX3" fmla="*/ 1202267 w 1382184"/>
                <a:gd name="connsiteY3" fmla="*/ 1187450 h 2044700"/>
                <a:gd name="connsiteX4" fmla="*/ 684742 w 1382184"/>
                <a:gd name="connsiteY4" fmla="*/ 0 h 204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2184" h="2044700">
                  <a:moveTo>
                    <a:pt x="684742" y="0"/>
                  </a:moveTo>
                  <a:cubicBezTo>
                    <a:pt x="620184" y="462492"/>
                    <a:pt x="492125" y="445558"/>
                    <a:pt x="205317" y="1158875"/>
                  </a:cubicBezTo>
                  <a:cubicBezTo>
                    <a:pt x="0" y="1813983"/>
                    <a:pt x="477309" y="2040467"/>
                    <a:pt x="675217" y="2044700"/>
                  </a:cubicBezTo>
                  <a:cubicBezTo>
                    <a:pt x="892175" y="2040467"/>
                    <a:pt x="1382184" y="1855258"/>
                    <a:pt x="1202267" y="1187450"/>
                  </a:cubicBezTo>
                  <a:cubicBezTo>
                    <a:pt x="985309" y="585258"/>
                    <a:pt x="765175" y="478367"/>
                    <a:pt x="684742" y="0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1403648" y="2948457"/>
              <a:ext cx="243381" cy="360040"/>
            </a:xfrm>
            <a:custGeom>
              <a:avLst/>
              <a:gdLst>
                <a:gd name="connsiteX0" fmla="*/ 552450 w 1123950"/>
                <a:gd name="connsiteY0" fmla="*/ 0 h 2047875"/>
                <a:gd name="connsiteX1" fmla="*/ 0 w 1123950"/>
                <a:gd name="connsiteY1" fmla="*/ 1466850 h 2047875"/>
                <a:gd name="connsiteX2" fmla="*/ 495300 w 1123950"/>
                <a:gd name="connsiteY2" fmla="*/ 2047875 h 2047875"/>
                <a:gd name="connsiteX3" fmla="*/ 1123950 w 1123950"/>
                <a:gd name="connsiteY3" fmla="*/ 1476375 h 2047875"/>
                <a:gd name="connsiteX0" fmla="*/ 552450 w 1123950"/>
                <a:gd name="connsiteY0" fmla="*/ 0 h 2047875"/>
                <a:gd name="connsiteX1" fmla="*/ 0 w 1123950"/>
                <a:gd name="connsiteY1" fmla="*/ 1466850 h 2047875"/>
                <a:gd name="connsiteX2" fmla="*/ 495300 w 1123950"/>
                <a:gd name="connsiteY2" fmla="*/ 2047875 h 2047875"/>
                <a:gd name="connsiteX3" fmla="*/ 1123950 w 1123950"/>
                <a:gd name="connsiteY3" fmla="*/ 1476375 h 2047875"/>
                <a:gd name="connsiteX4" fmla="*/ 552450 w 1123950"/>
                <a:gd name="connsiteY4" fmla="*/ 0 h 2047875"/>
                <a:gd name="connsiteX0" fmla="*/ 479425 w 1050925"/>
                <a:gd name="connsiteY0" fmla="*/ 0 h 2047875"/>
                <a:gd name="connsiteX1" fmla="*/ 0 w 1050925"/>
                <a:gd name="connsiteY1" fmla="*/ 1158875 h 2047875"/>
                <a:gd name="connsiteX2" fmla="*/ 422275 w 1050925"/>
                <a:gd name="connsiteY2" fmla="*/ 2047875 h 2047875"/>
                <a:gd name="connsiteX3" fmla="*/ 1050925 w 1050925"/>
                <a:gd name="connsiteY3" fmla="*/ 1476375 h 2047875"/>
                <a:gd name="connsiteX4" fmla="*/ 479425 w 1050925"/>
                <a:gd name="connsiteY4" fmla="*/ 0 h 2047875"/>
                <a:gd name="connsiteX0" fmla="*/ 479425 w 1016000"/>
                <a:gd name="connsiteY0" fmla="*/ 0 h 2047875"/>
                <a:gd name="connsiteX1" fmla="*/ 0 w 1016000"/>
                <a:gd name="connsiteY1" fmla="*/ 1158875 h 2047875"/>
                <a:gd name="connsiteX2" fmla="*/ 422275 w 1016000"/>
                <a:gd name="connsiteY2" fmla="*/ 2047875 h 2047875"/>
                <a:gd name="connsiteX3" fmla="*/ 1016000 w 1016000"/>
                <a:gd name="connsiteY3" fmla="*/ 1187450 h 2047875"/>
                <a:gd name="connsiteX4" fmla="*/ 479425 w 1016000"/>
                <a:gd name="connsiteY4" fmla="*/ 0 h 2047875"/>
                <a:gd name="connsiteX0" fmla="*/ 479425 w 1016000"/>
                <a:gd name="connsiteY0" fmla="*/ 0 h 2047875"/>
                <a:gd name="connsiteX1" fmla="*/ 0 w 1016000"/>
                <a:gd name="connsiteY1" fmla="*/ 1158875 h 2047875"/>
                <a:gd name="connsiteX2" fmla="*/ 422275 w 1016000"/>
                <a:gd name="connsiteY2" fmla="*/ 2047875 h 2047875"/>
                <a:gd name="connsiteX3" fmla="*/ 1016000 w 1016000"/>
                <a:gd name="connsiteY3" fmla="*/ 1187450 h 2047875"/>
                <a:gd name="connsiteX4" fmla="*/ 479425 w 1016000"/>
                <a:gd name="connsiteY4" fmla="*/ 0 h 2047875"/>
                <a:gd name="connsiteX0" fmla="*/ 659342 w 1195917"/>
                <a:gd name="connsiteY0" fmla="*/ 0 h 2047875"/>
                <a:gd name="connsiteX1" fmla="*/ 179917 w 1195917"/>
                <a:gd name="connsiteY1" fmla="*/ 1158875 h 2047875"/>
                <a:gd name="connsiteX2" fmla="*/ 602192 w 1195917"/>
                <a:gd name="connsiteY2" fmla="*/ 2047875 h 2047875"/>
                <a:gd name="connsiteX3" fmla="*/ 1195917 w 1195917"/>
                <a:gd name="connsiteY3" fmla="*/ 1187450 h 2047875"/>
                <a:gd name="connsiteX4" fmla="*/ 659342 w 1195917"/>
                <a:gd name="connsiteY4" fmla="*/ 0 h 2047875"/>
                <a:gd name="connsiteX0" fmla="*/ 659342 w 1195917"/>
                <a:gd name="connsiteY0" fmla="*/ 0 h 2047875"/>
                <a:gd name="connsiteX1" fmla="*/ 179917 w 1195917"/>
                <a:gd name="connsiteY1" fmla="*/ 1158875 h 2047875"/>
                <a:gd name="connsiteX2" fmla="*/ 602192 w 1195917"/>
                <a:gd name="connsiteY2" fmla="*/ 2047875 h 2047875"/>
                <a:gd name="connsiteX3" fmla="*/ 1195917 w 1195917"/>
                <a:gd name="connsiteY3" fmla="*/ 1187450 h 2047875"/>
                <a:gd name="connsiteX4" fmla="*/ 659342 w 1195917"/>
                <a:gd name="connsiteY4" fmla="*/ 0 h 2047875"/>
                <a:gd name="connsiteX0" fmla="*/ 659342 w 1312334"/>
                <a:gd name="connsiteY0" fmla="*/ 0 h 2047875"/>
                <a:gd name="connsiteX1" fmla="*/ 179917 w 1312334"/>
                <a:gd name="connsiteY1" fmla="*/ 1158875 h 2047875"/>
                <a:gd name="connsiteX2" fmla="*/ 602192 w 1312334"/>
                <a:gd name="connsiteY2" fmla="*/ 2047875 h 2047875"/>
                <a:gd name="connsiteX3" fmla="*/ 1195917 w 1312334"/>
                <a:gd name="connsiteY3" fmla="*/ 1187450 h 2047875"/>
                <a:gd name="connsiteX4" fmla="*/ 659342 w 1312334"/>
                <a:gd name="connsiteY4" fmla="*/ 0 h 2047875"/>
                <a:gd name="connsiteX0" fmla="*/ 659342 w 1312334"/>
                <a:gd name="connsiteY0" fmla="*/ 0 h 2054225"/>
                <a:gd name="connsiteX1" fmla="*/ 179917 w 1312334"/>
                <a:gd name="connsiteY1" fmla="*/ 1158875 h 2054225"/>
                <a:gd name="connsiteX2" fmla="*/ 649817 w 1312334"/>
                <a:gd name="connsiteY2" fmla="*/ 2054225 h 2054225"/>
                <a:gd name="connsiteX3" fmla="*/ 1195917 w 1312334"/>
                <a:gd name="connsiteY3" fmla="*/ 1187450 h 2054225"/>
                <a:gd name="connsiteX4" fmla="*/ 659342 w 1312334"/>
                <a:gd name="connsiteY4" fmla="*/ 0 h 2054225"/>
                <a:gd name="connsiteX0" fmla="*/ 659342 w 1312334"/>
                <a:gd name="connsiteY0" fmla="*/ 0 h 2044700"/>
                <a:gd name="connsiteX1" fmla="*/ 179917 w 1312334"/>
                <a:gd name="connsiteY1" fmla="*/ 1158875 h 2044700"/>
                <a:gd name="connsiteX2" fmla="*/ 649817 w 1312334"/>
                <a:gd name="connsiteY2" fmla="*/ 2044700 h 2044700"/>
                <a:gd name="connsiteX3" fmla="*/ 1195917 w 1312334"/>
                <a:gd name="connsiteY3" fmla="*/ 1187450 h 2044700"/>
                <a:gd name="connsiteX4" fmla="*/ 659342 w 13123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18684"/>
                <a:gd name="connsiteY0" fmla="*/ 0 h 2044700"/>
                <a:gd name="connsiteX1" fmla="*/ 205317 w 1318684"/>
                <a:gd name="connsiteY1" fmla="*/ 1158875 h 2044700"/>
                <a:gd name="connsiteX2" fmla="*/ 675217 w 1318684"/>
                <a:gd name="connsiteY2" fmla="*/ 2044700 h 2044700"/>
                <a:gd name="connsiteX3" fmla="*/ 1202267 w 1318684"/>
                <a:gd name="connsiteY3" fmla="*/ 1187450 h 2044700"/>
                <a:gd name="connsiteX4" fmla="*/ 684742 w 1318684"/>
                <a:gd name="connsiteY4" fmla="*/ 0 h 2044700"/>
                <a:gd name="connsiteX0" fmla="*/ 684742 w 1382184"/>
                <a:gd name="connsiteY0" fmla="*/ 0 h 2044700"/>
                <a:gd name="connsiteX1" fmla="*/ 205317 w 1382184"/>
                <a:gd name="connsiteY1" fmla="*/ 1158875 h 2044700"/>
                <a:gd name="connsiteX2" fmla="*/ 675217 w 1382184"/>
                <a:gd name="connsiteY2" fmla="*/ 2044700 h 2044700"/>
                <a:gd name="connsiteX3" fmla="*/ 1202267 w 1382184"/>
                <a:gd name="connsiteY3" fmla="*/ 1187450 h 2044700"/>
                <a:gd name="connsiteX4" fmla="*/ 684742 w 1382184"/>
                <a:gd name="connsiteY4" fmla="*/ 0 h 204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2184" h="2044700">
                  <a:moveTo>
                    <a:pt x="684742" y="0"/>
                  </a:moveTo>
                  <a:cubicBezTo>
                    <a:pt x="620184" y="462492"/>
                    <a:pt x="492125" y="445558"/>
                    <a:pt x="205317" y="1158875"/>
                  </a:cubicBezTo>
                  <a:cubicBezTo>
                    <a:pt x="0" y="1813983"/>
                    <a:pt x="477309" y="2040467"/>
                    <a:pt x="675217" y="2044700"/>
                  </a:cubicBezTo>
                  <a:cubicBezTo>
                    <a:pt x="892175" y="2040467"/>
                    <a:pt x="1382184" y="1855258"/>
                    <a:pt x="1202267" y="1187450"/>
                  </a:cubicBezTo>
                  <a:cubicBezTo>
                    <a:pt x="985309" y="585258"/>
                    <a:pt x="765175" y="478367"/>
                    <a:pt x="684742" y="0"/>
                  </a:cubicBezTo>
                  <a:close/>
                </a:path>
              </a:pathLst>
            </a:custGeom>
            <a:solidFill>
              <a:schemeClr val="bg1"/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1331640" y="2876449"/>
              <a:ext cx="140361" cy="207640"/>
            </a:xfrm>
            <a:custGeom>
              <a:avLst/>
              <a:gdLst>
                <a:gd name="connsiteX0" fmla="*/ 552450 w 1123950"/>
                <a:gd name="connsiteY0" fmla="*/ 0 h 2047875"/>
                <a:gd name="connsiteX1" fmla="*/ 0 w 1123950"/>
                <a:gd name="connsiteY1" fmla="*/ 1466850 h 2047875"/>
                <a:gd name="connsiteX2" fmla="*/ 495300 w 1123950"/>
                <a:gd name="connsiteY2" fmla="*/ 2047875 h 2047875"/>
                <a:gd name="connsiteX3" fmla="*/ 1123950 w 1123950"/>
                <a:gd name="connsiteY3" fmla="*/ 1476375 h 2047875"/>
                <a:gd name="connsiteX0" fmla="*/ 552450 w 1123950"/>
                <a:gd name="connsiteY0" fmla="*/ 0 h 2047875"/>
                <a:gd name="connsiteX1" fmla="*/ 0 w 1123950"/>
                <a:gd name="connsiteY1" fmla="*/ 1466850 h 2047875"/>
                <a:gd name="connsiteX2" fmla="*/ 495300 w 1123950"/>
                <a:gd name="connsiteY2" fmla="*/ 2047875 h 2047875"/>
                <a:gd name="connsiteX3" fmla="*/ 1123950 w 1123950"/>
                <a:gd name="connsiteY3" fmla="*/ 1476375 h 2047875"/>
                <a:gd name="connsiteX4" fmla="*/ 552450 w 1123950"/>
                <a:gd name="connsiteY4" fmla="*/ 0 h 2047875"/>
                <a:gd name="connsiteX0" fmla="*/ 479425 w 1050925"/>
                <a:gd name="connsiteY0" fmla="*/ 0 h 2047875"/>
                <a:gd name="connsiteX1" fmla="*/ 0 w 1050925"/>
                <a:gd name="connsiteY1" fmla="*/ 1158875 h 2047875"/>
                <a:gd name="connsiteX2" fmla="*/ 422275 w 1050925"/>
                <a:gd name="connsiteY2" fmla="*/ 2047875 h 2047875"/>
                <a:gd name="connsiteX3" fmla="*/ 1050925 w 1050925"/>
                <a:gd name="connsiteY3" fmla="*/ 1476375 h 2047875"/>
                <a:gd name="connsiteX4" fmla="*/ 479425 w 1050925"/>
                <a:gd name="connsiteY4" fmla="*/ 0 h 2047875"/>
                <a:gd name="connsiteX0" fmla="*/ 479425 w 1016000"/>
                <a:gd name="connsiteY0" fmla="*/ 0 h 2047875"/>
                <a:gd name="connsiteX1" fmla="*/ 0 w 1016000"/>
                <a:gd name="connsiteY1" fmla="*/ 1158875 h 2047875"/>
                <a:gd name="connsiteX2" fmla="*/ 422275 w 1016000"/>
                <a:gd name="connsiteY2" fmla="*/ 2047875 h 2047875"/>
                <a:gd name="connsiteX3" fmla="*/ 1016000 w 1016000"/>
                <a:gd name="connsiteY3" fmla="*/ 1187450 h 2047875"/>
                <a:gd name="connsiteX4" fmla="*/ 479425 w 1016000"/>
                <a:gd name="connsiteY4" fmla="*/ 0 h 2047875"/>
                <a:gd name="connsiteX0" fmla="*/ 479425 w 1016000"/>
                <a:gd name="connsiteY0" fmla="*/ 0 h 2047875"/>
                <a:gd name="connsiteX1" fmla="*/ 0 w 1016000"/>
                <a:gd name="connsiteY1" fmla="*/ 1158875 h 2047875"/>
                <a:gd name="connsiteX2" fmla="*/ 422275 w 1016000"/>
                <a:gd name="connsiteY2" fmla="*/ 2047875 h 2047875"/>
                <a:gd name="connsiteX3" fmla="*/ 1016000 w 1016000"/>
                <a:gd name="connsiteY3" fmla="*/ 1187450 h 2047875"/>
                <a:gd name="connsiteX4" fmla="*/ 479425 w 1016000"/>
                <a:gd name="connsiteY4" fmla="*/ 0 h 2047875"/>
                <a:gd name="connsiteX0" fmla="*/ 659342 w 1195917"/>
                <a:gd name="connsiteY0" fmla="*/ 0 h 2047875"/>
                <a:gd name="connsiteX1" fmla="*/ 179917 w 1195917"/>
                <a:gd name="connsiteY1" fmla="*/ 1158875 h 2047875"/>
                <a:gd name="connsiteX2" fmla="*/ 602192 w 1195917"/>
                <a:gd name="connsiteY2" fmla="*/ 2047875 h 2047875"/>
                <a:gd name="connsiteX3" fmla="*/ 1195917 w 1195917"/>
                <a:gd name="connsiteY3" fmla="*/ 1187450 h 2047875"/>
                <a:gd name="connsiteX4" fmla="*/ 659342 w 1195917"/>
                <a:gd name="connsiteY4" fmla="*/ 0 h 2047875"/>
                <a:gd name="connsiteX0" fmla="*/ 659342 w 1195917"/>
                <a:gd name="connsiteY0" fmla="*/ 0 h 2047875"/>
                <a:gd name="connsiteX1" fmla="*/ 179917 w 1195917"/>
                <a:gd name="connsiteY1" fmla="*/ 1158875 h 2047875"/>
                <a:gd name="connsiteX2" fmla="*/ 602192 w 1195917"/>
                <a:gd name="connsiteY2" fmla="*/ 2047875 h 2047875"/>
                <a:gd name="connsiteX3" fmla="*/ 1195917 w 1195917"/>
                <a:gd name="connsiteY3" fmla="*/ 1187450 h 2047875"/>
                <a:gd name="connsiteX4" fmla="*/ 659342 w 1195917"/>
                <a:gd name="connsiteY4" fmla="*/ 0 h 2047875"/>
                <a:gd name="connsiteX0" fmla="*/ 659342 w 1312334"/>
                <a:gd name="connsiteY0" fmla="*/ 0 h 2047875"/>
                <a:gd name="connsiteX1" fmla="*/ 179917 w 1312334"/>
                <a:gd name="connsiteY1" fmla="*/ 1158875 h 2047875"/>
                <a:gd name="connsiteX2" fmla="*/ 602192 w 1312334"/>
                <a:gd name="connsiteY2" fmla="*/ 2047875 h 2047875"/>
                <a:gd name="connsiteX3" fmla="*/ 1195917 w 1312334"/>
                <a:gd name="connsiteY3" fmla="*/ 1187450 h 2047875"/>
                <a:gd name="connsiteX4" fmla="*/ 659342 w 1312334"/>
                <a:gd name="connsiteY4" fmla="*/ 0 h 2047875"/>
                <a:gd name="connsiteX0" fmla="*/ 659342 w 1312334"/>
                <a:gd name="connsiteY0" fmla="*/ 0 h 2054225"/>
                <a:gd name="connsiteX1" fmla="*/ 179917 w 1312334"/>
                <a:gd name="connsiteY1" fmla="*/ 1158875 h 2054225"/>
                <a:gd name="connsiteX2" fmla="*/ 649817 w 1312334"/>
                <a:gd name="connsiteY2" fmla="*/ 2054225 h 2054225"/>
                <a:gd name="connsiteX3" fmla="*/ 1195917 w 1312334"/>
                <a:gd name="connsiteY3" fmla="*/ 1187450 h 2054225"/>
                <a:gd name="connsiteX4" fmla="*/ 659342 w 1312334"/>
                <a:gd name="connsiteY4" fmla="*/ 0 h 2054225"/>
                <a:gd name="connsiteX0" fmla="*/ 659342 w 1312334"/>
                <a:gd name="connsiteY0" fmla="*/ 0 h 2044700"/>
                <a:gd name="connsiteX1" fmla="*/ 179917 w 1312334"/>
                <a:gd name="connsiteY1" fmla="*/ 1158875 h 2044700"/>
                <a:gd name="connsiteX2" fmla="*/ 649817 w 1312334"/>
                <a:gd name="connsiteY2" fmla="*/ 2044700 h 2044700"/>
                <a:gd name="connsiteX3" fmla="*/ 1195917 w 1312334"/>
                <a:gd name="connsiteY3" fmla="*/ 1187450 h 2044700"/>
                <a:gd name="connsiteX4" fmla="*/ 659342 w 13123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37734"/>
                <a:gd name="connsiteY0" fmla="*/ 0 h 2044700"/>
                <a:gd name="connsiteX1" fmla="*/ 205317 w 1337734"/>
                <a:gd name="connsiteY1" fmla="*/ 1158875 h 2044700"/>
                <a:gd name="connsiteX2" fmla="*/ 675217 w 1337734"/>
                <a:gd name="connsiteY2" fmla="*/ 2044700 h 2044700"/>
                <a:gd name="connsiteX3" fmla="*/ 1221317 w 1337734"/>
                <a:gd name="connsiteY3" fmla="*/ 1187450 h 2044700"/>
                <a:gd name="connsiteX4" fmla="*/ 684742 w 1337734"/>
                <a:gd name="connsiteY4" fmla="*/ 0 h 2044700"/>
                <a:gd name="connsiteX0" fmla="*/ 684742 w 1318684"/>
                <a:gd name="connsiteY0" fmla="*/ 0 h 2044700"/>
                <a:gd name="connsiteX1" fmla="*/ 205317 w 1318684"/>
                <a:gd name="connsiteY1" fmla="*/ 1158875 h 2044700"/>
                <a:gd name="connsiteX2" fmla="*/ 675217 w 1318684"/>
                <a:gd name="connsiteY2" fmla="*/ 2044700 h 2044700"/>
                <a:gd name="connsiteX3" fmla="*/ 1202267 w 1318684"/>
                <a:gd name="connsiteY3" fmla="*/ 1187450 h 2044700"/>
                <a:gd name="connsiteX4" fmla="*/ 684742 w 1318684"/>
                <a:gd name="connsiteY4" fmla="*/ 0 h 2044700"/>
                <a:gd name="connsiteX0" fmla="*/ 684742 w 1382184"/>
                <a:gd name="connsiteY0" fmla="*/ 0 h 2044700"/>
                <a:gd name="connsiteX1" fmla="*/ 205317 w 1382184"/>
                <a:gd name="connsiteY1" fmla="*/ 1158875 h 2044700"/>
                <a:gd name="connsiteX2" fmla="*/ 675217 w 1382184"/>
                <a:gd name="connsiteY2" fmla="*/ 2044700 h 2044700"/>
                <a:gd name="connsiteX3" fmla="*/ 1202267 w 1382184"/>
                <a:gd name="connsiteY3" fmla="*/ 1187450 h 2044700"/>
                <a:gd name="connsiteX4" fmla="*/ 684742 w 1382184"/>
                <a:gd name="connsiteY4" fmla="*/ 0 h 204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2184" h="2044700">
                  <a:moveTo>
                    <a:pt x="684742" y="0"/>
                  </a:moveTo>
                  <a:cubicBezTo>
                    <a:pt x="620184" y="462492"/>
                    <a:pt x="492125" y="445558"/>
                    <a:pt x="205317" y="1158875"/>
                  </a:cubicBezTo>
                  <a:cubicBezTo>
                    <a:pt x="0" y="1813983"/>
                    <a:pt x="477309" y="2040467"/>
                    <a:pt x="675217" y="2044700"/>
                  </a:cubicBezTo>
                  <a:cubicBezTo>
                    <a:pt x="892175" y="2040467"/>
                    <a:pt x="1382184" y="1855258"/>
                    <a:pt x="1202267" y="1187450"/>
                  </a:cubicBezTo>
                  <a:cubicBezTo>
                    <a:pt x="985309" y="585258"/>
                    <a:pt x="765175" y="478367"/>
                    <a:pt x="684742" y="0"/>
                  </a:cubicBezTo>
                  <a:close/>
                </a:path>
              </a:pathLst>
            </a:custGeom>
            <a:solidFill>
              <a:schemeClr val="tx2"/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395288" y="2421162"/>
            <a:ext cx="2235857" cy="156966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GB" sz="1600" b="1" dirty="0"/>
              <a:t>Water-based </a:t>
            </a:r>
            <a:r>
              <a:rPr lang="en-GB" sz="1600" b="1" dirty="0" err="1"/>
              <a:t>flexo</a:t>
            </a:r>
            <a:r>
              <a:rPr lang="en-GB" sz="1600" b="1" dirty="0"/>
              <a:t> / gravure inks</a:t>
            </a:r>
            <a:r>
              <a:rPr lang="en-GB" sz="1600" dirty="0"/>
              <a:t> are a good low cost option for lamination and can be printed on existing presses</a:t>
            </a:r>
            <a:endParaRPr lang="en-US" sz="1600" dirty="0"/>
          </a:p>
        </p:txBody>
      </p:sp>
      <p:grpSp>
        <p:nvGrpSpPr>
          <p:cNvPr id="69" name="Group 68"/>
          <p:cNvGrpSpPr/>
          <p:nvPr/>
        </p:nvGrpSpPr>
        <p:grpSpPr>
          <a:xfrm>
            <a:off x="1191499" y="916808"/>
            <a:ext cx="588007" cy="588007"/>
            <a:chOff x="1712770" y="544883"/>
            <a:chExt cx="686975" cy="686975"/>
          </a:xfrm>
        </p:grpSpPr>
        <p:grpSp>
          <p:nvGrpSpPr>
            <p:cNvPr id="11" name="Group 81"/>
            <p:cNvGrpSpPr/>
            <p:nvPr/>
          </p:nvGrpSpPr>
          <p:grpSpPr>
            <a:xfrm>
              <a:off x="1712770" y="544883"/>
              <a:ext cx="686975" cy="686975"/>
              <a:chOff x="5459373" y="1506037"/>
              <a:chExt cx="2025229" cy="2025229"/>
            </a:xfrm>
          </p:grpSpPr>
          <p:sp>
            <p:nvSpPr>
              <p:cNvPr id="12" name="Rechteck 35"/>
              <p:cNvSpPr/>
              <p:nvPr/>
            </p:nvSpPr>
            <p:spPr>
              <a:xfrm>
                <a:off x="5459373" y="1506037"/>
                <a:ext cx="2025229" cy="2025229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13" name="Group 12"/>
              <p:cNvGrpSpPr/>
              <p:nvPr/>
            </p:nvGrpSpPr>
            <p:grpSpPr>
              <a:xfrm>
                <a:off x="5796737" y="2425578"/>
                <a:ext cx="762570" cy="790356"/>
                <a:chOff x="5718059" y="2402786"/>
                <a:chExt cx="762570" cy="790356"/>
              </a:xfrm>
            </p:grpSpPr>
            <p:sp>
              <p:nvSpPr>
                <p:cNvPr id="19" name="Rounded Rectangle 18"/>
                <p:cNvSpPr/>
                <p:nvPr/>
              </p:nvSpPr>
              <p:spPr>
                <a:xfrm>
                  <a:off x="5791200" y="3053507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" name="Rounded Rectangle 19"/>
                <p:cNvSpPr/>
                <p:nvPr/>
              </p:nvSpPr>
              <p:spPr>
                <a:xfrm>
                  <a:off x="5791200" y="2893672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1" name="Rounded Rectangle 20"/>
                <p:cNvSpPr/>
                <p:nvPr/>
              </p:nvSpPr>
              <p:spPr>
                <a:xfrm>
                  <a:off x="5791200" y="2733837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" name="Rounded Rectangle 21"/>
                <p:cNvSpPr/>
                <p:nvPr/>
              </p:nvSpPr>
              <p:spPr>
                <a:xfrm>
                  <a:off x="5718059" y="2574002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8" name="Rounded Rectangle 67"/>
                <p:cNvSpPr/>
                <p:nvPr/>
              </p:nvSpPr>
              <p:spPr>
                <a:xfrm>
                  <a:off x="5718059" y="2402786"/>
                  <a:ext cx="689429" cy="139634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4" name="Group 13"/>
              <p:cNvGrpSpPr/>
              <p:nvPr/>
            </p:nvGrpSpPr>
            <p:grpSpPr>
              <a:xfrm>
                <a:off x="6589846" y="2943404"/>
                <a:ext cx="627421" cy="272536"/>
                <a:chOff x="5791200" y="2893672"/>
                <a:chExt cx="689429" cy="299470"/>
              </a:xfrm>
              <a:solidFill>
                <a:schemeClr val="accent4">
                  <a:lumMod val="60000"/>
                  <a:lumOff val="40000"/>
                </a:schemeClr>
              </a:solidFill>
            </p:grpSpPr>
            <p:sp>
              <p:nvSpPr>
                <p:cNvPr id="15" name="Rounded Rectangle 14"/>
                <p:cNvSpPr/>
                <p:nvPr/>
              </p:nvSpPr>
              <p:spPr>
                <a:xfrm>
                  <a:off x="5791200" y="3053507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6" name="Rounded Rectangle 15"/>
                <p:cNvSpPr/>
                <p:nvPr/>
              </p:nvSpPr>
              <p:spPr>
                <a:xfrm>
                  <a:off x="5791200" y="2893672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26" name="Group 14"/>
            <p:cNvGrpSpPr>
              <a:grpSpLocks noChangeAspect="1"/>
            </p:cNvGrpSpPr>
            <p:nvPr/>
          </p:nvGrpSpPr>
          <p:grpSpPr bwMode="auto">
            <a:xfrm rot="314402">
              <a:off x="1784371" y="597812"/>
              <a:ext cx="494370" cy="359820"/>
              <a:chOff x="3352" y="1802"/>
              <a:chExt cx="970" cy="706"/>
            </a:xfrm>
            <a:solidFill>
              <a:schemeClr val="bg1"/>
            </a:solidFill>
          </p:grpSpPr>
          <p:sp>
            <p:nvSpPr>
              <p:cNvPr id="27" name="Freeform 15"/>
              <p:cNvSpPr>
                <a:spLocks/>
              </p:cNvSpPr>
              <p:nvPr/>
            </p:nvSpPr>
            <p:spPr bwMode="auto">
              <a:xfrm>
                <a:off x="3352" y="1802"/>
                <a:ext cx="920" cy="667"/>
              </a:xfrm>
              <a:custGeom>
                <a:avLst/>
                <a:gdLst>
                  <a:gd name="T0" fmla="*/ 515 w 561"/>
                  <a:gd name="T1" fmla="*/ 406 h 406"/>
                  <a:gd name="T2" fmla="*/ 480 w 561"/>
                  <a:gd name="T3" fmla="*/ 386 h 406"/>
                  <a:gd name="T4" fmla="*/ 334 w 561"/>
                  <a:gd name="T5" fmla="*/ 133 h 406"/>
                  <a:gd name="T6" fmla="*/ 220 w 561"/>
                  <a:gd name="T7" fmla="*/ 192 h 406"/>
                  <a:gd name="T8" fmla="*/ 178 w 561"/>
                  <a:gd name="T9" fmla="*/ 189 h 406"/>
                  <a:gd name="T10" fmla="*/ 22 w 561"/>
                  <a:gd name="T11" fmla="*/ 77 h 406"/>
                  <a:gd name="T12" fmla="*/ 13 w 561"/>
                  <a:gd name="T13" fmla="*/ 22 h 406"/>
                  <a:gd name="T14" fmla="*/ 69 w 561"/>
                  <a:gd name="T15" fmla="*/ 12 h 406"/>
                  <a:gd name="T16" fmla="*/ 205 w 561"/>
                  <a:gd name="T17" fmla="*/ 110 h 406"/>
                  <a:gd name="T18" fmla="*/ 331 w 561"/>
                  <a:gd name="T19" fmla="*/ 45 h 406"/>
                  <a:gd name="T20" fmla="*/ 384 w 561"/>
                  <a:gd name="T21" fmla="*/ 60 h 406"/>
                  <a:gd name="T22" fmla="*/ 550 w 561"/>
                  <a:gd name="T23" fmla="*/ 346 h 406"/>
                  <a:gd name="T24" fmla="*/ 535 w 561"/>
                  <a:gd name="T25" fmla="*/ 401 h 406"/>
                  <a:gd name="T26" fmla="*/ 515 w 561"/>
                  <a:gd name="T27" fmla="*/ 406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61" h="406">
                    <a:moveTo>
                      <a:pt x="515" y="406"/>
                    </a:moveTo>
                    <a:cubicBezTo>
                      <a:pt x="501" y="406"/>
                      <a:pt x="488" y="399"/>
                      <a:pt x="480" y="386"/>
                    </a:cubicBezTo>
                    <a:cubicBezTo>
                      <a:pt x="334" y="133"/>
                      <a:pt x="334" y="133"/>
                      <a:pt x="334" y="133"/>
                    </a:cubicBezTo>
                    <a:cubicBezTo>
                      <a:pt x="220" y="192"/>
                      <a:pt x="220" y="192"/>
                      <a:pt x="220" y="192"/>
                    </a:cubicBezTo>
                    <a:cubicBezTo>
                      <a:pt x="207" y="199"/>
                      <a:pt x="190" y="198"/>
                      <a:pt x="178" y="189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4" y="65"/>
                      <a:pt x="0" y="40"/>
                      <a:pt x="13" y="22"/>
                    </a:cubicBezTo>
                    <a:cubicBezTo>
                      <a:pt x="26" y="4"/>
                      <a:pt x="51" y="0"/>
                      <a:pt x="69" y="12"/>
                    </a:cubicBezTo>
                    <a:cubicBezTo>
                      <a:pt x="205" y="110"/>
                      <a:pt x="205" y="110"/>
                      <a:pt x="205" y="110"/>
                    </a:cubicBezTo>
                    <a:cubicBezTo>
                      <a:pt x="331" y="45"/>
                      <a:pt x="331" y="45"/>
                      <a:pt x="331" y="45"/>
                    </a:cubicBezTo>
                    <a:cubicBezTo>
                      <a:pt x="350" y="35"/>
                      <a:pt x="373" y="42"/>
                      <a:pt x="384" y="60"/>
                    </a:cubicBezTo>
                    <a:cubicBezTo>
                      <a:pt x="550" y="346"/>
                      <a:pt x="550" y="346"/>
                      <a:pt x="550" y="346"/>
                    </a:cubicBezTo>
                    <a:cubicBezTo>
                      <a:pt x="561" y="365"/>
                      <a:pt x="554" y="390"/>
                      <a:pt x="535" y="401"/>
                    </a:cubicBezTo>
                    <a:cubicBezTo>
                      <a:pt x="529" y="405"/>
                      <a:pt x="522" y="406"/>
                      <a:pt x="515" y="4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6"/>
              <p:cNvSpPr>
                <a:spLocks/>
              </p:cNvSpPr>
              <p:nvPr/>
            </p:nvSpPr>
            <p:spPr bwMode="auto">
              <a:xfrm>
                <a:off x="3938" y="2134"/>
                <a:ext cx="384" cy="374"/>
              </a:xfrm>
              <a:custGeom>
                <a:avLst/>
                <a:gdLst>
                  <a:gd name="T0" fmla="*/ 0 w 384"/>
                  <a:gd name="T1" fmla="*/ 177 h 374"/>
                  <a:gd name="T2" fmla="*/ 243 w 384"/>
                  <a:gd name="T3" fmla="*/ 243 h 374"/>
                  <a:gd name="T4" fmla="*/ 308 w 384"/>
                  <a:gd name="T5" fmla="*/ 0 h 374"/>
                  <a:gd name="T6" fmla="*/ 384 w 384"/>
                  <a:gd name="T7" fmla="*/ 130 h 374"/>
                  <a:gd name="T8" fmla="*/ 320 w 384"/>
                  <a:gd name="T9" fmla="*/ 374 h 374"/>
                  <a:gd name="T10" fmla="*/ 75 w 384"/>
                  <a:gd name="T11" fmla="*/ 309 h 374"/>
                  <a:gd name="T12" fmla="*/ 0 w 384"/>
                  <a:gd name="T13" fmla="*/ 177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4" h="374">
                    <a:moveTo>
                      <a:pt x="0" y="177"/>
                    </a:moveTo>
                    <a:lnTo>
                      <a:pt x="243" y="243"/>
                    </a:lnTo>
                    <a:lnTo>
                      <a:pt x="308" y="0"/>
                    </a:lnTo>
                    <a:lnTo>
                      <a:pt x="384" y="130"/>
                    </a:lnTo>
                    <a:lnTo>
                      <a:pt x="320" y="374"/>
                    </a:lnTo>
                    <a:lnTo>
                      <a:pt x="75" y="309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1" name="Group 40"/>
          <p:cNvGrpSpPr/>
          <p:nvPr/>
        </p:nvGrpSpPr>
        <p:grpSpPr>
          <a:xfrm>
            <a:off x="2623600" y="1161328"/>
            <a:ext cx="1158028" cy="1158028"/>
            <a:chOff x="2702079" y="2673603"/>
            <a:chExt cx="936104" cy="936104"/>
          </a:xfrm>
        </p:grpSpPr>
        <p:grpSp>
          <p:nvGrpSpPr>
            <p:cNvPr id="31" name="Group 80"/>
            <p:cNvGrpSpPr/>
            <p:nvPr/>
          </p:nvGrpSpPr>
          <p:grpSpPr>
            <a:xfrm>
              <a:off x="2702079" y="2673603"/>
              <a:ext cx="936104" cy="936104"/>
              <a:chOff x="971600" y="2787774"/>
              <a:chExt cx="863798" cy="863798"/>
            </a:xfrm>
          </p:grpSpPr>
          <p:sp>
            <p:nvSpPr>
              <p:cNvPr id="32" name="Rectangle 31"/>
              <p:cNvSpPr/>
              <p:nvPr/>
            </p:nvSpPr>
            <p:spPr>
              <a:xfrm>
                <a:off x="971600" y="2787774"/>
                <a:ext cx="863798" cy="86379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4" name="Freeform 33"/>
              <p:cNvSpPr/>
              <p:nvPr/>
            </p:nvSpPr>
            <p:spPr bwMode="auto">
              <a:xfrm>
                <a:off x="1538734" y="3193520"/>
                <a:ext cx="204481" cy="302494"/>
              </a:xfrm>
              <a:custGeom>
                <a:avLst/>
                <a:gdLst>
                  <a:gd name="connsiteX0" fmla="*/ 552450 w 1123950"/>
                  <a:gd name="connsiteY0" fmla="*/ 0 h 2047875"/>
                  <a:gd name="connsiteX1" fmla="*/ 0 w 1123950"/>
                  <a:gd name="connsiteY1" fmla="*/ 1466850 h 2047875"/>
                  <a:gd name="connsiteX2" fmla="*/ 495300 w 1123950"/>
                  <a:gd name="connsiteY2" fmla="*/ 2047875 h 2047875"/>
                  <a:gd name="connsiteX3" fmla="*/ 1123950 w 1123950"/>
                  <a:gd name="connsiteY3" fmla="*/ 1476375 h 2047875"/>
                  <a:gd name="connsiteX0" fmla="*/ 552450 w 1123950"/>
                  <a:gd name="connsiteY0" fmla="*/ 0 h 2047875"/>
                  <a:gd name="connsiteX1" fmla="*/ 0 w 1123950"/>
                  <a:gd name="connsiteY1" fmla="*/ 1466850 h 2047875"/>
                  <a:gd name="connsiteX2" fmla="*/ 495300 w 1123950"/>
                  <a:gd name="connsiteY2" fmla="*/ 2047875 h 2047875"/>
                  <a:gd name="connsiteX3" fmla="*/ 1123950 w 1123950"/>
                  <a:gd name="connsiteY3" fmla="*/ 1476375 h 2047875"/>
                  <a:gd name="connsiteX4" fmla="*/ 552450 w 1123950"/>
                  <a:gd name="connsiteY4" fmla="*/ 0 h 2047875"/>
                  <a:gd name="connsiteX0" fmla="*/ 479425 w 1050925"/>
                  <a:gd name="connsiteY0" fmla="*/ 0 h 2047875"/>
                  <a:gd name="connsiteX1" fmla="*/ 0 w 1050925"/>
                  <a:gd name="connsiteY1" fmla="*/ 1158875 h 2047875"/>
                  <a:gd name="connsiteX2" fmla="*/ 422275 w 1050925"/>
                  <a:gd name="connsiteY2" fmla="*/ 2047875 h 2047875"/>
                  <a:gd name="connsiteX3" fmla="*/ 1050925 w 1050925"/>
                  <a:gd name="connsiteY3" fmla="*/ 1476375 h 2047875"/>
                  <a:gd name="connsiteX4" fmla="*/ 479425 w 1050925"/>
                  <a:gd name="connsiteY4" fmla="*/ 0 h 2047875"/>
                  <a:gd name="connsiteX0" fmla="*/ 479425 w 1016000"/>
                  <a:gd name="connsiteY0" fmla="*/ 0 h 2047875"/>
                  <a:gd name="connsiteX1" fmla="*/ 0 w 1016000"/>
                  <a:gd name="connsiteY1" fmla="*/ 1158875 h 2047875"/>
                  <a:gd name="connsiteX2" fmla="*/ 422275 w 1016000"/>
                  <a:gd name="connsiteY2" fmla="*/ 2047875 h 2047875"/>
                  <a:gd name="connsiteX3" fmla="*/ 1016000 w 1016000"/>
                  <a:gd name="connsiteY3" fmla="*/ 1187450 h 2047875"/>
                  <a:gd name="connsiteX4" fmla="*/ 479425 w 1016000"/>
                  <a:gd name="connsiteY4" fmla="*/ 0 h 2047875"/>
                  <a:gd name="connsiteX0" fmla="*/ 479425 w 1016000"/>
                  <a:gd name="connsiteY0" fmla="*/ 0 h 2047875"/>
                  <a:gd name="connsiteX1" fmla="*/ 0 w 1016000"/>
                  <a:gd name="connsiteY1" fmla="*/ 1158875 h 2047875"/>
                  <a:gd name="connsiteX2" fmla="*/ 422275 w 1016000"/>
                  <a:gd name="connsiteY2" fmla="*/ 2047875 h 2047875"/>
                  <a:gd name="connsiteX3" fmla="*/ 1016000 w 1016000"/>
                  <a:gd name="connsiteY3" fmla="*/ 1187450 h 2047875"/>
                  <a:gd name="connsiteX4" fmla="*/ 479425 w 1016000"/>
                  <a:gd name="connsiteY4" fmla="*/ 0 h 2047875"/>
                  <a:gd name="connsiteX0" fmla="*/ 659342 w 1195917"/>
                  <a:gd name="connsiteY0" fmla="*/ 0 h 2047875"/>
                  <a:gd name="connsiteX1" fmla="*/ 179917 w 1195917"/>
                  <a:gd name="connsiteY1" fmla="*/ 1158875 h 2047875"/>
                  <a:gd name="connsiteX2" fmla="*/ 602192 w 1195917"/>
                  <a:gd name="connsiteY2" fmla="*/ 2047875 h 2047875"/>
                  <a:gd name="connsiteX3" fmla="*/ 1195917 w 1195917"/>
                  <a:gd name="connsiteY3" fmla="*/ 1187450 h 2047875"/>
                  <a:gd name="connsiteX4" fmla="*/ 659342 w 1195917"/>
                  <a:gd name="connsiteY4" fmla="*/ 0 h 2047875"/>
                  <a:gd name="connsiteX0" fmla="*/ 659342 w 1195917"/>
                  <a:gd name="connsiteY0" fmla="*/ 0 h 2047875"/>
                  <a:gd name="connsiteX1" fmla="*/ 179917 w 1195917"/>
                  <a:gd name="connsiteY1" fmla="*/ 1158875 h 2047875"/>
                  <a:gd name="connsiteX2" fmla="*/ 602192 w 1195917"/>
                  <a:gd name="connsiteY2" fmla="*/ 2047875 h 2047875"/>
                  <a:gd name="connsiteX3" fmla="*/ 1195917 w 1195917"/>
                  <a:gd name="connsiteY3" fmla="*/ 1187450 h 2047875"/>
                  <a:gd name="connsiteX4" fmla="*/ 659342 w 1195917"/>
                  <a:gd name="connsiteY4" fmla="*/ 0 h 2047875"/>
                  <a:gd name="connsiteX0" fmla="*/ 659342 w 1312334"/>
                  <a:gd name="connsiteY0" fmla="*/ 0 h 2047875"/>
                  <a:gd name="connsiteX1" fmla="*/ 179917 w 1312334"/>
                  <a:gd name="connsiteY1" fmla="*/ 1158875 h 2047875"/>
                  <a:gd name="connsiteX2" fmla="*/ 602192 w 1312334"/>
                  <a:gd name="connsiteY2" fmla="*/ 2047875 h 2047875"/>
                  <a:gd name="connsiteX3" fmla="*/ 1195917 w 1312334"/>
                  <a:gd name="connsiteY3" fmla="*/ 1187450 h 2047875"/>
                  <a:gd name="connsiteX4" fmla="*/ 659342 w 1312334"/>
                  <a:gd name="connsiteY4" fmla="*/ 0 h 2047875"/>
                  <a:gd name="connsiteX0" fmla="*/ 659342 w 1312334"/>
                  <a:gd name="connsiteY0" fmla="*/ 0 h 2054225"/>
                  <a:gd name="connsiteX1" fmla="*/ 179917 w 1312334"/>
                  <a:gd name="connsiteY1" fmla="*/ 1158875 h 2054225"/>
                  <a:gd name="connsiteX2" fmla="*/ 649817 w 1312334"/>
                  <a:gd name="connsiteY2" fmla="*/ 2054225 h 2054225"/>
                  <a:gd name="connsiteX3" fmla="*/ 1195917 w 1312334"/>
                  <a:gd name="connsiteY3" fmla="*/ 1187450 h 2054225"/>
                  <a:gd name="connsiteX4" fmla="*/ 659342 w 1312334"/>
                  <a:gd name="connsiteY4" fmla="*/ 0 h 2054225"/>
                  <a:gd name="connsiteX0" fmla="*/ 659342 w 1312334"/>
                  <a:gd name="connsiteY0" fmla="*/ 0 h 2044700"/>
                  <a:gd name="connsiteX1" fmla="*/ 179917 w 1312334"/>
                  <a:gd name="connsiteY1" fmla="*/ 1158875 h 2044700"/>
                  <a:gd name="connsiteX2" fmla="*/ 649817 w 1312334"/>
                  <a:gd name="connsiteY2" fmla="*/ 2044700 h 2044700"/>
                  <a:gd name="connsiteX3" fmla="*/ 1195917 w 1312334"/>
                  <a:gd name="connsiteY3" fmla="*/ 1187450 h 2044700"/>
                  <a:gd name="connsiteX4" fmla="*/ 659342 w 13123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18684"/>
                  <a:gd name="connsiteY0" fmla="*/ 0 h 2044700"/>
                  <a:gd name="connsiteX1" fmla="*/ 205317 w 1318684"/>
                  <a:gd name="connsiteY1" fmla="*/ 1158875 h 2044700"/>
                  <a:gd name="connsiteX2" fmla="*/ 675217 w 1318684"/>
                  <a:gd name="connsiteY2" fmla="*/ 2044700 h 2044700"/>
                  <a:gd name="connsiteX3" fmla="*/ 1202267 w 1318684"/>
                  <a:gd name="connsiteY3" fmla="*/ 1187450 h 2044700"/>
                  <a:gd name="connsiteX4" fmla="*/ 684742 w 1318684"/>
                  <a:gd name="connsiteY4" fmla="*/ 0 h 2044700"/>
                  <a:gd name="connsiteX0" fmla="*/ 684742 w 1382184"/>
                  <a:gd name="connsiteY0" fmla="*/ 0 h 2044700"/>
                  <a:gd name="connsiteX1" fmla="*/ 205317 w 1382184"/>
                  <a:gd name="connsiteY1" fmla="*/ 1158875 h 2044700"/>
                  <a:gd name="connsiteX2" fmla="*/ 675217 w 1382184"/>
                  <a:gd name="connsiteY2" fmla="*/ 2044700 h 2044700"/>
                  <a:gd name="connsiteX3" fmla="*/ 1202267 w 1382184"/>
                  <a:gd name="connsiteY3" fmla="*/ 1187450 h 2044700"/>
                  <a:gd name="connsiteX4" fmla="*/ 684742 w 1382184"/>
                  <a:gd name="connsiteY4" fmla="*/ 0 h 204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2184" h="2044700">
                    <a:moveTo>
                      <a:pt x="684742" y="0"/>
                    </a:moveTo>
                    <a:cubicBezTo>
                      <a:pt x="620184" y="462492"/>
                      <a:pt x="492125" y="445558"/>
                      <a:pt x="205317" y="1158875"/>
                    </a:cubicBezTo>
                    <a:cubicBezTo>
                      <a:pt x="0" y="1813983"/>
                      <a:pt x="477309" y="2040467"/>
                      <a:pt x="675217" y="2044700"/>
                    </a:cubicBezTo>
                    <a:cubicBezTo>
                      <a:pt x="892175" y="2040467"/>
                      <a:pt x="1382184" y="1855258"/>
                      <a:pt x="1202267" y="1187450"/>
                    </a:cubicBezTo>
                    <a:cubicBezTo>
                      <a:pt x="985309" y="585258"/>
                      <a:pt x="765175" y="478367"/>
                      <a:pt x="684742" y="0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285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000" i="1" dirty="0">
                  <a:latin typeface="Arial" pitchFamily="34" charset="0"/>
                </a:endParaRPr>
              </a:p>
            </p:txBody>
          </p:sp>
          <p:sp>
            <p:nvSpPr>
              <p:cNvPr id="35" name="Freeform 34"/>
              <p:cNvSpPr/>
              <p:nvPr/>
            </p:nvSpPr>
            <p:spPr bwMode="auto">
              <a:xfrm>
                <a:off x="1119788" y="2904090"/>
                <a:ext cx="100371" cy="148482"/>
              </a:xfrm>
              <a:custGeom>
                <a:avLst/>
                <a:gdLst>
                  <a:gd name="connsiteX0" fmla="*/ 552450 w 1123950"/>
                  <a:gd name="connsiteY0" fmla="*/ 0 h 2047875"/>
                  <a:gd name="connsiteX1" fmla="*/ 0 w 1123950"/>
                  <a:gd name="connsiteY1" fmla="*/ 1466850 h 2047875"/>
                  <a:gd name="connsiteX2" fmla="*/ 495300 w 1123950"/>
                  <a:gd name="connsiteY2" fmla="*/ 2047875 h 2047875"/>
                  <a:gd name="connsiteX3" fmla="*/ 1123950 w 1123950"/>
                  <a:gd name="connsiteY3" fmla="*/ 1476375 h 2047875"/>
                  <a:gd name="connsiteX0" fmla="*/ 552450 w 1123950"/>
                  <a:gd name="connsiteY0" fmla="*/ 0 h 2047875"/>
                  <a:gd name="connsiteX1" fmla="*/ 0 w 1123950"/>
                  <a:gd name="connsiteY1" fmla="*/ 1466850 h 2047875"/>
                  <a:gd name="connsiteX2" fmla="*/ 495300 w 1123950"/>
                  <a:gd name="connsiteY2" fmla="*/ 2047875 h 2047875"/>
                  <a:gd name="connsiteX3" fmla="*/ 1123950 w 1123950"/>
                  <a:gd name="connsiteY3" fmla="*/ 1476375 h 2047875"/>
                  <a:gd name="connsiteX4" fmla="*/ 552450 w 1123950"/>
                  <a:gd name="connsiteY4" fmla="*/ 0 h 2047875"/>
                  <a:gd name="connsiteX0" fmla="*/ 479425 w 1050925"/>
                  <a:gd name="connsiteY0" fmla="*/ 0 h 2047875"/>
                  <a:gd name="connsiteX1" fmla="*/ 0 w 1050925"/>
                  <a:gd name="connsiteY1" fmla="*/ 1158875 h 2047875"/>
                  <a:gd name="connsiteX2" fmla="*/ 422275 w 1050925"/>
                  <a:gd name="connsiteY2" fmla="*/ 2047875 h 2047875"/>
                  <a:gd name="connsiteX3" fmla="*/ 1050925 w 1050925"/>
                  <a:gd name="connsiteY3" fmla="*/ 1476375 h 2047875"/>
                  <a:gd name="connsiteX4" fmla="*/ 479425 w 1050925"/>
                  <a:gd name="connsiteY4" fmla="*/ 0 h 2047875"/>
                  <a:gd name="connsiteX0" fmla="*/ 479425 w 1016000"/>
                  <a:gd name="connsiteY0" fmla="*/ 0 h 2047875"/>
                  <a:gd name="connsiteX1" fmla="*/ 0 w 1016000"/>
                  <a:gd name="connsiteY1" fmla="*/ 1158875 h 2047875"/>
                  <a:gd name="connsiteX2" fmla="*/ 422275 w 1016000"/>
                  <a:gd name="connsiteY2" fmla="*/ 2047875 h 2047875"/>
                  <a:gd name="connsiteX3" fmla="*/ 1016000 w 1016000"/>
                  <a:gd name="connsiteY3" fmla="*/ 1187450 h 2047875"/>
                  <a:gd name="connsiteX4" fmla="*/ 479425 w 1016000"/>
                  <a:gd name="connsiteY4" fmla="*/ 0 h 2047875"/>
                  <a:gd name="connsiteX0" fmla="*/ 479425 w 1016000"/>
                  <a:gd name="connsiteY0" fmla="*/ 0 h 2047875"/>
                  <a:gd name="connsiteX1" fmla="*/ 0 w 1016000"/>
                  <a:gd name="connsiteY1" fmla="*/ 1158875 h 2047875"/>
                  <a:gd name="connsiteX2" fmla="*/ 422275 w 1016000"/>
                  <a:gd name="connsiteY2" fmla="*/ 2047875 h 2047875"/>
                  <a:gd name="connsiteX3" fmla="*/ 1016000 w 1016000"/>
                  <a:gd name="connsiteY3" fmla="*/ 1187450 h 2047875"/>
                  <a:gd name="connsiteX4" fmla="*/ 479425 w 1016000"/>
                  <a:gd name="connsiteY4" fmla="*/ 0 h 2047875"/>
                  <a:gd name="connsiteX0" fmla="*/ 659342 w 1195917"/>
                  <a:gd name="connsiteY0" fmla="*/ 0 h 2047875"/>
                  <a:gd name="connsiteX1" fmla="*/ 179917 w 1195917"/>
                  <a:gd name="connsiteY1" fmla="*/ 1158875 h 2047875"/>
                  <a:gd name="connsiteX2" fmla="*/ 602192 w 1195917"/>
                  <a:gd name="connsiteY2" fmla="*/ 2047875 h 2047875"/>
                  <a:gd name="connsiteX3" fmla="*/ 1195917 w 1195917"/>
                  <a:gd name="connsiteY3" fmla="*/ 1187450 h 2047875"/>
                  <a:gd name="connsiteX4" fmla="*/ 659342 w 1195917"/>
                  <a:gd name="connsiteY4" fmla="*/ 0 h 2047875"/>
                  <a:gd name="connsiteX0" fmla="*/ 659342 w 1195917"/>
                  <a:gd name="connsiteY0" fmla="*/ 0 h 2047875"/>
                  <a:gd name="connsiteX1" fmla="*/ 179917 w 1195917"/>
                  <a:gd name="connsiteY1" fmla="*/ 1158875 h 2047875"/>
                  <a:gd name="connsiteX2" fmla="*/ 602192 w 1195917"/>
                  <a:gd name="connsiteY2" fmla="*/ 2047875 h 2047875"/>
                  <a:gd name="connsiteX3" fmla="*/ 1195917 w 1195917"/>
                  <a:gd name="connsiteY3" fmla="*/ 1187450 h 2047875"/>
                  <a:gd name="connsiteX4" fmla="*/ 659342 w 1195917"/>
                  <a:gd name="connsiteY4" fmla="*/ 0 h 2047875"/>
                  <a:gd name="connsiteX0" fmla="*/ 659342 w 1312334"/>
                  <a:gd name="connsiteY0" fmla="*/ 0 h 2047875"/>
                  <a:gd name="connsiteX1" fmla="*/ 179917 w 1312334"/>
                  <a:gd name="connsiteY1" fmla="*/ 1158875 h 2047875"/>
                  <a:gd name="connsiteX2" fmla="*/ 602192 w 1312334"/>
                  <a:gd name="connsiteY2" fmla="*/ 2047875 h 2047875"/>
                  <a:gd name="connsiteX3" fmla="*/ 1195917 w 1312334"/>
                  <a:gd name="connsiteY3" fmla="*/ 1187450 h 2047875"/>
                  <a:gd name="connsiteX4" fmla="*/ 659342 w 1312334"/>
                  <a:gd name="connsiteY4" fmla="*/ 0 h 2047875"/>
                  <a:gd name="connsiteX0" fmla="*/ 659342 w 1312334"/>
                  <a:gd name="connsiteY0" fmla="*/ 0 h 2054225"/>
                  <a:gd name="connsiteX1" fmla="*/ 179917 w 1312334"/>
                  <a:gd name="connsiteY1" fmla="*/ 1158875 h 2054225"/>
                  <a:gd name="connsiteX2" fmla="*/ 649817 w 1312334"/>
                  <a:gd name="connsiteY2" fmla="*/ 2054225 h 2054225"/>
                  <a:gd name="connsiteX3" fmla="*/ 1195917 w 1312334"/>
                  <a:gd name="connsiteY3" fmla="*/ 1187450 h 2054225"/>
                  <a:gd name="connsiteX4" fmla="*/ 659342 w 1312334"/>
                  <a:gd name="connsiteY4" fmla="*/ 0 h 2054225"/>
                  <a:gd name="connsiteX0" fmla="*/ 659342 w 1312334"/>
                  <a:gd name="connsiteY0" fmla="*/ 0 h 2044700"/>
                  <a:gd name="connsiteX1" fmla="*/ 179917 w 1312334"/>
                  <a:gd name="connsiteY1" fmla="*/ 1158875 h 2044700"/>
                  <a:gd name="connsiteX2" fmla="*/ 649817 w 1312334"/>
                  <a:gd name="connsiteY2" fmla="*/ 2044700 h 2044700"/>
                  <a:gd name="connsiteX3" fmla="*/ 1195917 w 1312334"/>
                  <a:gd name="connsiteY3" fmla="*/ 1187450 h 2044700"/>
                  <a:gd name="connsiteX4" fmla="*/ 659342 w 13123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37734"/>
                  <a:gd name="connsiteY0" fmla="*/ 0 h 2044700"/>
                  <a:gd name="connsiteX1" fmla="*/ 205317 w 1337734"/>
                  <a:gd name="connsiteY1" fmla="*/ 1158875 h 2044700"/>
                  <a:gd name="connsiteX2" fmla="*/ 675217 w 1337734"/>
                  <a:gd name="connsiteY2" fmla="*/ 2044700 h 2044700"/>
                  <a:gd name="connsiteX3" fmla="*/ 1221317 w 1337734"/>
                  <a:gd name="connsiteY3" fmla="*/ 1187450 h 2044700"/>
                  <a:gd name="connsiteX4" fmla="*/ 684742 w 1337734"/>
                  <a:gd name="connsiteY4" fmla="*/ 0 h 2044700"/>
                  <a:gd name="connsiteX0" fmla="*/ 684742 w 1318684"/>
                  <a:gd name="connsiteY0" fmla="*/ 0 h 2044700"/>
                  <a:gd name="connsiteX1" fmla="*/ 205317 w 1318684"/>
                  <a:gd name="connsiteY1" fmla="*/ 1158875 h 2044700"/>
                  <a:gd name="connsiteX2" fmla="*/ 675217 w 1318684"/>
                  <a:gd name="connsiteY2" fmla="*/ 2044700 h 2044700"/>
                  <a:gd name="connsiteX3" fmla="*/ 1202267 w 1318684"/>
                  <a:gd name="connsiteY3" fmla="*/ 1187450 h 2044700"/>
                  <a:gd name="connsiteX4" fmla="*/ 684742 w 1318684"/>
                  <a:gd name="connsiteY4" fmla="*/ 0 h 2044700"/>
                  <a:gd name="connsiteX0" fmla="*/ 684742 w 1382184"/>
                  <a:gd name="connsiteY0" fmla="*/ 0 h 2044700"/>
                  <a:gd name="connsiteX1" fmla="*/ 205317 w 1382184"/>
                  <a:gd name="connsiteY1" fmla="*/ 1158875 h 2044700"/>
                  <a:gd name="connsiteX2" fmla="*/ 675217 w 1382184"/>
                  <a:gd name="connsiteY2" fmla="*/ 2044700 h 2044700"/>
                  <a:gd name="connsiteX3" fmla="*/ 1202267 w 1382184"/>
                  <a:gd name="connsiteY3" fmla="*/ 1187450 h 2044700"/>
                  <a:gd name="connsiteX4" fmla="*/ 684742 w 1382184"/>
                  <a:gd name="connsiteY4" fmla="*/ 0 h 204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2184" h="2044700">
                    <a:moveTo>
                      <a:pt x="684742" y="0"/>
                    </a:moveTo>
                    <a:cubicBezTo>
                      <a:pt x="620184" y="462492"/>
                      <a:pt x="492125" y="445558"/>
                      <a:pt x="205317" y="1158875"/>
                    </a:cubicBezTo>
                    <a:cubicBezTo>
                      <a:pt x="0" y="1813983"/>
                      <a:pt x="477309" y="2040467"/>
                      <a:pt x="675217" y="2044700"/>
                    </a:cubicBezTo>
                    <a:cubicBezTo>
                      <a:pt x="892175" y="2040467"/>
                      <a:pt x="1382184" y="1855258"/>
                      <a:pt x="1202267" y="1187450"/>
                    </a:cubicBezTo>
                    <a:cubicBezTo>
                      <a:pt x="985309" y="585258"/>
                      <a:pt x="765175" y="478367"/>
                      <a:pt x="68474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285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</p:grp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2935160" y="2811102"/>
              <a:ext cx="469942" cy="469942"/>
            </a:xfrm>
            <a:custGeom>
              <a:avLst/>
              <a:gdLst>
                <a:gd name="T0" fmla="*/ 113 w 225"/>
                <a:gd name="T1" fmla="*/ 170 h 225"/>
                <a:gd name="T2" fmla="*/ 113 w 225"/>
                <a:gd name="T3" fmla="*/ 52 h 225"/>
                <a:gd name="T4" fmla="*/ 113 w 225"/>
                <a:gd name="T5" fmla="*/ 0 h 225"/>
                <a:gd name="T6" fmla="*/ 113 w 225"/>
                <a:gd name="T7" fmla="*/ 52 h 225"/>
                <a:gd name="T8" fmla="*/ 88 w 225"/>
                <a:gd name="T9" fmla="*/ 55 h 225"/>
                <a:gd name="T10" fmla="*/ 76 w 225"/>
                <a:gd name="T11" fmla="*/ 25 h 225"/>
                <a:gd name="T12" fmla="*/ 27 w 225"/>
                <a:gd name="T13" fmla="*/ 81 h 225"/>
                <a:gd name="T14" fmla="*/ 55 w 225"/>
                <a:gd name="T15" fmla="*/ 89 h 225"/>
                <a:gd name="T16" fmla="*/ 25 w 225"/>
                <a:gd name="T17" fmla="*/ 77 h 225"/>
                <a:gd name="T18" fmla="*/ 50 w 225"/>
                <a:gd name="T19" fmla="*/ 135 h 225"/>
                <a:gd name="T20" fmla="*/ 29 w 225"/>
                <a:gd name="T21" fmla="*/ 151 h 225"/>
                <a:gd name="T22" fmla="*/ 55 w 225"/>
                <a:gd name="T23" fmla="*/ 137 h 225"/>
                <a:gd name="T24" fmla="*/ 75 w 225"/>
                <a:gd name="T25" fmla="*/ 195 h 225"/>
                <a:gd name="T26" fmla="*/ 81 w 225"/>
                <a:gd name="T27" fmla="*/ 198 h 225"/>
                <a:gd name="T28" fmla="*/ 141 w 225"/>
                <a:gd name="T29" fmla="*/ 173 h 225"/>
                <a:gd name="T30" fmla="*/ 144 w 225"/>
                <a:gd name="T31" fmla="*/ 198 h 225"/>
                <a:gd name="T32" fmla="*/ 150 w 225"/>
                <a:gd name="T33" fmla="*/ 195 h 225"/>
                <a:gd name="T34" fmla="*/ 175 w 225"/>
                <a:gd name="T35" fmla="*/ 135 h 225"/>
                <a:gd name="T36" fmla="*/ 195 w 225"/>
                <a:gd name="T37" fmla="*/ 151 h 225"/>
                <a:gd name="T38" fmla="*/ 198 w 225"/>
                <a:gd name="T39" fmla="*/ 144 h 225"/>
                <a:gd name="T40" fmla="*/ 175 w 225"/>
                <a:gd name="T41" fmla="*/ 90 h 225"/>
                <a:gd name="T42" fmla="*/ 195 w 225"/>
                <a:gd name="T43" fmla="*/ 75 h 225"/>
                <a:gd name="T44" fmla="*/ 137 w 225"/>
                <a:gd name="T45" fmla="*/ 55 h 225"/>
                <a:gd name="T46" fmla="*/ 150 w 225"/>
                <a:gd name="T47" fmla="*/ 30 h 225"/>
                <a:gd name="T48" fmla="*/ 135 w 225"/>
                <a:gd name="T49" fmla="*/ 50 h 225"/>
                <a:gd name="T50" fmla="*/ 66 w 225"/>
                <a:gd name="T51" fmla="*/ 72 h 225"/>
                <a:gd name="T52" fmla="*/ 41 w 225"/>
                <a:gd name="T53" fmla="*/ 33 h 225"/>
                <a:gd name="T54" fmla="*/ 62 w 225"/>
                <a:gd name="T55" fmla="*/ 70 h 225"/>
                <a:gd name="T56" fmla="*/ 6 w 225"/>
                <a:gd name="T57" fmla="*/ 107 h 225"/>
                <a:gd name="T58" fmla="*/ 46 w 225"/>
                <a:gd name="T59" fmla="*/ 118 h 225"/>
                <a:gd name="T60" fmla="*/ 33 w 225"/>
                <a:gd name="T61" fmla="*/ 184 h 225"/>
                <a:gd name="T62" fmla="*/ 41 w 225"/>
                <a:gd name="T63" fmla="*/ 192 h 225"/>
                <a:gd name="T64" fmla="*/ 62 w 225"/>
                <a:gd name="T65" fmla="*/ 155 h 225"/>
                <a:gd name="T66" fmla="*/ 107 w 225"/>
                <a:gd name="T67" fmla="*/ 219 h 225"/>
                <a:gd name="T68" fmla="*/ 118 w 225"/>
                <a:gd name="T69" fmla="*/ 179 h 225"/>
                <a:gd name="T70" fmla="*/ 155 w 225"/>
                <a:gd name="T71" fmla="*/ 155 h 225"/>
                <a:gd name="T72" fmla="*/ 188 w 225"/>
                <a:gd name="T73" fmla="*/ 194 h 225"/>
                <a:gd name="T74" fmla="*/ 163 w 225"/>
                <a:gd name="T75" fmla="*/ 155 h 225"/>
                <a:gd name="T76" fmla="*/ 173 w 225"/>
                <a:gd name="T77" fmla="*/ 113 h 225"/>
                <a:gd name="T78" fmla="*/ 225 w 225"/>
                <a:gd name="T79" fmla="*/ 113 h 225"/>
                <a:gd name="T80" fmla="*/ 163 w 225"/>
                <a:gd name="T81" fmla="*/ 70 h 225"/>
                <a:gd name="T82" fmla="*/ 184 w 225"/>
                <a:gd name="T83" fmla="*/ 33 h 225"/>
                <a:gd name="T84" fmla="*/ 159 w 225"/>
                <a:gd name="T85" fmla="*/ 7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5" h="225">
                  <a:moveTo>
                    <a:pt x="113" y="56"/>
                  </a:moveTo>
                  <a:cubicBezTo>
                    <a:pt x="81" y="56"/>
                    <a:pt x="55" y="81"/>
                    <a:pt x="55" y="113"/>
                  </a:cubicBezTo>
                  <a:cubicBezTo>
                    <a:pt x="55" y="144"/>
                    <a:pt x="81" y="170"/>
                    <a:pt x="113" y="170"/>
                  </a:cubicBezTo>
                  <a:cubicBezTo>
                    <a:pt x="144" y="170"/>
                    <a:pt x="170" y="144"/>
                    <a:pt x="170" y="113"/>
                  </a:cubicBezTo>
                  <a:cubicBezTo>
                    <a:pt x="170" y="81"/>
                    <a:pt x="144" y="56"/>
                    <a:pt x="113" y="56"/>
                  </a:cubicBezTo>
                  <a:close/>
                  <a:moveTo>
                    <a:pt x="113" y="52"/>
                  </a:moveTo>
                  <a:cubicBezTo>
                    <a:pt x="116" y="52"/>
                    <a:pt x="118" y="50"/>
                    <a:pt x="118" y="4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8" y="3"/>
                    <a:pt x="116" y="0"/>
                    <a:pt x="113" y="0"/>
                  </a:cubicBezTo>
                  <a:cubicBezTo>
                    <a:pt x="109" y="0"/>
                    <a:pt x="107" y="3"/>
                    <a:pt x="107" y="6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50"/>
                    <a:pt x="109" y="52"/>
                    <a:pt x="113" y="52"/>
                  </a:cubicBezTo>
                  <a:close/>
                  <a:moveTo>
                    <a:pt x="84" y="53"/>
                  </a:moveTo>
                  <a:cubicBezTo>
                    <a:pt x="85" y="54"/>
                    <a:pt x="86" y="55"/>
                    <a:pt x="87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90" y="54"/>
                    <a:pt x="91" y="52"/>
                    <a:pt x="90" y="50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0" y="26"/>
                    <a:pt x="78" y="25"/>
                    <a:pt x="76" y="25"/>
                  </a:cubicBezTo>
                  <a:cubicBezTo>
                    <a:pt x="75" y="26"/>
                    <a:pt x="74" y="28"/>
                    <a:pt x="75" y="30"/>
                  </a:cubicBezTo>
                  <a:lnTo>
                    <a:pt x="84" y="53"/>
                  </a:lnTo>
                  <a:close/>
                  <a:moveTo>
                    <a:pt x="27" y="81"/>
                  </a:moveTo>
                  <a:cubicBezTo>
                    <a:pt x="50" y="90"/>
                    <a:pt x="50" y="90"/>
                    <a:pt x="50" y="90"/>
                  </a:cubicBezTo>
                  <a:cubicBezTo>
                    <a:pt x="50" y="91"/>
                    <a:pt x="51" y="91"/>
                    <a:pt x="51" y="91"/>
                  </a:cubicBezTo>
                  <a:cubicBezTo>
                    <a:pt x="53" y="91"/>
                    <a:pt x="54" y="90"/>
                    <a:pt x="55" y="89"/>
                  </a:cubicBezTo>
                  <a:cubicBezTo>
                    <a:pt x="55" y="87"/>
                    <a:pt x="54" y="85"/>
                    <a:pt x="53" y="84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28" y="74"/>
                    <a:pt x="26" y="75"/>
                    <a:pt x="25" y="77"/>
                  </a:cubicBezTo>
                  <a:cubicBezTo>
                    <a:pt x="25" y="78"/>
                    <a:pt x="25" y="80"/>
                    <a:pt x="27" y="81"/>
                  </a:cubicBezTo>
                  <a:close/>
                  <a:moveTo>
                    <a:pt x="55" y="137"/>
                  </a:moveTo>
                  <a:cubicBezTo>
                    <a:pt x="54" y="135"/>
                    <a:pt x="52" y="134"/>
                    <a:pt x="50" y="135"/>
                  </a:cubicBezTo>
                  <a:cubicBezTo>
                    <a:pt x="27" y="144"/>
                    <a:pt x="27" y="144"/>
                    <a:pt x="27" y="144"/>
                  </a:cubicBezTo>
                  <a:cubicBezTo>
                    <a:pt x="25" y="145"/>
                    <a:pt x="25" y="147"/>
                    <a:pt x="25" y="149"/>
                  </a:cubicBezTo>
                  <a:cubicBezTo>
                    <a:pt x="26" y="150"/>
                    <a:pt x="27" y="151"/>
                    <a:pt x="29" y="151"/>
                  </a:cubicBezTo>
                  <a:cubicBezTo>
                    <a:pt x="29" y="151"/>
                    <a:pt x="29" y="151"/>
                    <a:pt x="30" y="151"/>
                  </a:cubicBezTo>
                  <a:cubicBezTo>
                    <a:pt x="53" y="141"/>
                    <a:pt x="53" y="141"/>
                    <a:pt x="53" y="141"/>
                  </a:cubicBezTo>
                  <a:cubicBezTo>
                    <a:pt x="54" y="140"/>
                    <a:pt x="55" y="138"/>
                    <a:pt x="55" y="137"/>
                  </a:cubicBezTo>
                  <a:close/>
                  <a:moveTo>
                    <a:pt x="88" y="171"/>
                  </a:moveTo>
                  <a:cubicBezTo>
                    <a:pt x="87" y="170"/>
                    <a:pt x="85" y="171"/>
                    <a:pt x="84" y="173"/>
                  </a:cubicBezTo>
                  <a:cubicBezTo>
                    <a:pt x="75" y="195"/>
                    <a:pt x="75" y="195"/>
                    <a:pt x="75" y="195"/>
                  </a:cubicBezTo>
                  <a:cubicBezTo>
                    <a:pt x="74" y="197"/>
                    <a:pt x="75" y="199"/>
                    <a:pt x="76" y="200"/>
                  </a:cubicBezTo>
                  <a:cubicBezTo>
                    <a:pt x="77" y="200"/>
                    <a:pt x="77" y="200"/>
                    <a:pt x="78" y="200"/>
                  </a:cubicBezTo>
                  <a:cubicBezTo>
                    <a:pt x="79" y="200"/>
                    <a:pt x="80" y="199"/>
                    <a:pt x="81" y="198"/>
                  </a:cubicBezTo>
                  <a:cubicBezTo>
                    <a:pt x="90" y="175"/>
                    <a:pt x="90" y="175"/>
                    <a:pt x="90" y="175"/>
                  </a:cubicBezTo>
                  <a:cubicBezTo>
                    <a:pt x="91" y="173"/>
                    <a:pt x="90" y="171"/>
                    <a:pt x="88" y="171"/>
                  </a:cubicBezTo>
                  <a:close/>
                  <a:moveTo>
                    <a:pt x="141" y="173"/>
                  </a:moveTo>
                  <a:cubicBezTo>
                    <a:pt x="140" y="171"/>
                    <a:pt x="138" y="170"/>
                    <a:pt x="137" y="171"/>
                  </a:cubicBezTo>
                  <a:cubicBezTo>
                    <a:pt x="135" y="171"/>
                    <a:pt x="134" y="173"/>
                    <a:pt x="135" y="175"/>
                  </a:cubicBezTo>
                  <a:cubicBezTo>
                    <a:pt x="144" y="198"/>
                    <a:pt x="144" y="198"/>
                    <a:pt x="144" y="198"/>
                  </a:cubicBezTo>
                  <a:cubicBezTo>
                    <a:pt x="145" y="199"/>
                    <a:pt x="146" y="200"/>
                    <a:pt x="147" y="200"/>
                  </a:cubicBezTo>
                  <a:cubicBezTo>
                    <a:pt x="148" y="200"/>
                    <a:pt x="148" y="200"/>
                    <a:pt x="149" y="200"/>
                  </a:cubicBezTo>
                  <a:cubicBezTo>
                    <a:pt x="150" y="199"/>
                    <a:pt x="151" y="197"/>
                    <a:pt x="150" y="195"/>
                  </a:cubicBezTo>
                  <a:lnTo>
                    <a:pt x="141" y="173"/>
                  </a:lnTo>
                  <a:close/>
                  <a:moveTo>
                    <a:pt x="198" y="144"/>
                  </a:moveTo>
                  <a:cubicBezTo>
                    <a:pt x="175" y="135"/>
                    <a:pt x="175" y="135"/>
                    <a:pt x="175" y="135"/>
                  </a:cubicBezTo>
                  <a:cubicBezTo>
                    <a:pt x="173" y="134"/>
                    <a:pt x="171" y="135"/>
                    <a:pt x="171" y="137"/>
                  </a:cubicBezTo>
                  <a:cubicBezTo>
                    <a:pt x="170" y="138"/>
                    <a:pt x="171" y="140"/>
                    <a:pt x="172" y="141"/>
                  </a:cubicBezTo>
                  <a:cubicBezTo>
                    <a:pt x="195" y="151"/>
                    <a:pt x="195" y="151"/>
                    <a:pt x="195" y="151"/>
                  </a:cubicBezTo>
                  <a:cubicBezTo>
                    <a:pt x="196" y="151"/>
                    <a:pt x="196" y="151"/>
                    <a:pt x="197" y="151"/>
                  </a:cubicBezTo>
                  <a:cubicBezTo>
                    <a:pt x="198" y="151"/>
                    <a:pt x="199" y="150"/>
                    <a:pt x="200" y="149"/>
                  </a:cubicBezTo>
                  <a:cubicBezTo>
                    <a:pt x="200" y="147"/>
                    <a:pt x="200" y="145"/>
                    <a:pt x="198" y="144"/>
                  </a:cubicBezTo>
                  <a:close/>
                  <a:moveTo>
                    <a:pt x="171" y="89"/>
                  </a:moveTo>
                  <a:cubicBezTo>
                    <a:pt x="171" y="90"/>
                    <a:pt x="172" y="91"/>
                    <a:pt x="174" y="91"/>
                  </a:cubicBezTo>
                  <a:cubicBezTo>
                    <a:pt x="174" y="91"/>
                    <a:pt x="175" y="91"/>
                    <a:pt x="175" y="90"/>
                  </a:cubicBezTo>
                  <a:cubicBezTo>
                    <a:pt x="198" y="81"/>
                    <a:pt x="198" y="81"/>
                    <a:pt x="198" y="81"/>
                  </a:cubicBezTo>
                  <a:cubicBezTo>
                    <a:pt x="200" y="80"/>
                    <a:pt x="200" y="78"/>
                    <a:pt x="200" y="77"/>
                  </a:cubicBezTo>
                  <a:cubicBezTo>
                    <a:pt x="199" y="75"/>
                    <a:pt x="197" y="74"/>
                    <a:pt x="195" y="75"/>
                  </a:cubicBezTo>
                  <a:cubicBezTo>
                    <a:pt x="172" y="84"/>
                    <a:pt x="172" y="84"/>
                    <a:pt x="172" y="84"/>
                  </a:cubicBezTo>
                  <a:cubicBezTo>
                    <a:pt x="171" y="85"/>
                    <a:pt x="170" y="87"/>
                    <a:pt x="171" y="89"/>
                  </a:cubicBezTo>
                  <a:close/>
                  <a:moveTo>
                    <a:pt x="137" y="55"/>
                  </a:moveTo>
                  <a:cubicBezTo>
                    <a:pt x="137" y="55"/>
                    <a:pt x="137" y="55"/>
                    <a:pt x="138" y="55"/>
                  </a:cubicBezTo>
                  <a:cubicBezTo>
                    <a:pt x="139" y="55"/>
                    <a:pt x="140" y="54"/>
                    <a:pt x="141" y="53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1" y="28"/>
                    <a:pt x="150" y="26"/>
                    <a:pt x="149" y="25"/>
                  </a:cubicBezTo>
                  <a:cubicBezTo>
                    <a:pt x="147" y="25"/>
                    <a:pt x="145" y="26"/>
                    <a:pt x="144" y="27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4" y="52"/>
                    <a:pt x="135" y="54"/>
                    <a:pt x="137" y="55"/>
                  </a:cubicBezTo>
                  <a:close/>
                  <a:moveTo>
                    <a:pt x="62" y="70"/>
                  </a:moveTo>
                  <a:cubicBezTo>
                    <a:pt x="63" y="71"/>
                    <a:pt x="64" y="72"/>
                    <a:pt x="66" y="72"/>
                  </a:cubicBezTo>
                  <a:cubicBezTo>
                    <a:pt x="67" y="72"/>
                    <a:pt x="69" y="71"/>
                    <a:pt x="70" y="70"/>
                  </a:cubicBezTo>
                  <a:cubicBezTo>
                    <a:pt x="72" y="68"/>
                    <a:pt x="72" y="64"/>
                    <a:pt x="70" y="62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9" y="31"/>
                    <a:pt x="35" y="31"/>
                    <a:pt x="33" y="33"/>
                  </a:cubicBezTo>
                  <a:cubicBezTo>
                    <a:pt x="31" y="36"/>
                    <a:pt x="31" y="39"/>
                    <a:pt x="33" y="41"/>
                  </a:cubicBezTo>
                  <a:lnTo>
                    <a:pt x="62" y="70"/>
                  </a:lnTo>
                  <a:close/>
                  <a:moveTo>
                    <a:pt x="52" y="113"/>
                  </a:moveTo>
                  <a:cubicBezTo>
                    <a:pt x="52" y="110"/>
                    <a:pt x="49" y="107"/>
                    <a:pt x="46" y="107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3" y="107"/>
                    <a:pt x="0" y="110"/>
                    <a:pt x="0" y="113"/>
                  </a:cubicBezTo>
                  <a:cubicBezTo>
                    <a:pt x="0" y="116"/>
                    <a:pt x="3" y="118"/>
                    <a:pt x="6" y="118"/>
                  </a:cubicBezTo>
                  <a:cubicBezTo>
                    <a:pt x="46" y="118"/>
                    <a:pt x="46" y="118"/>
                    <a:pt x="46" y="118"/>
                  </a:cubicBezTo>
                  <a:cubicBezTo>
                    <a:pt x="49" y="118"/>
                    <a:pt x="52" y="116"/>
                    <a:pt x="52" y="113"/>
                  </a:cubicBezTo>
                  <a:close/>
                  <a:moveTo>
                    <a:pt x="62" y="155"/>
                  </a:moveTo>
                  <a:cubicBezTo>
                    <a:pt x="33" y="184"/>
                    <a:pt x="33" y="184"/>
                    <a:pt x="33" y="184"/>
                  </a:cubicBezTo>
                  <a:cubicBezTo>
                    <a:pt x="31" y="186"/>
                    <a:pt x="31" y="190"/>
                    <a:pt x="33" y="192"/>
                  </a:cubicBezTo>
                  <a:cubicBezTo>
                    <a:pt x="34" y="193"/>
                    <a:pt x="36" y="194"/>
                    <a:pt x="37" y="194"/>
                  </a:cubicBezTo>
                  <a:cubicBezTo>
                    <a:pt x="39" y="194"/>
                    <a:pt x="40" y="193"/>
                    <a:pt x="41" y="192"/>
                  </a:cubicBezTo>
                  <a:cubicBezTo>
                    <a:pt x="70" y="164"/>
                    <a:pt x="70" y="164"/>
                    <a:pt x="70" y="164"/>
                  </a:cubicBezTo>
                  <a:cubicBezTo>
                    <a:pt x="72" y="161"/>
                    <a:pt x="72" y="158"/>
                    <a:pt x="70" y="155"/>
                  </a:cubicBezTo>
                  <a:cubicBezTo>
                    <a:pt x="68" y="153"/>
                    <a:pt x="64" y="153"/>
                    <a:pt x="62" y="155"/>
                  </a:cubicBezTo>
                  <a:close/>
                  <a:moveTo>
                    <a:pt x="113" y="173"/>
                  </a:moveTo>
                  <a:cubicBezTo>
                    <a:pt x="109" y="173"/>
                    <a:pt x="107" y="176"/>
                    <a:pt x="107" y="179"/>
                  </a:cubicBezTo>
                  <a:cubicBezTo>
                    <a:pt x="107" y="219"/>
                    <a:pt x="107" y="219"/>
                    <a:pt x="107" y="219"/>
                  </a:cubicBezTo>
                  <a:cubicBezTo>
                    <a:pt x="107" y="222"/>
                    <a:pt x="109" y="225"/>
                    <a:pt x="113" y="225"/>
                  </a:cubicBezTo>
                  <a:cubicBezTo>
                    <a:pt x="116" y="225"/>
                    <a:pt x="118" y="222"/>
                    <a:pt x="118" y="21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18" y="176"/>
                    <a:pt x="116" y="173"/>
                    <a:pt x="113" y="173"/>
                  </a:cubicBezTo>
                  <a:close/>
                  <a:moveTo>
                    <a:pt x="163" y="155"/>
                  </a:moveTo>
                  <a:cubicBezTo>
                    <a:pt x="161" y="153"/>
                    <a:pt x="158" y="153"/>
                    <a:pt x="155" y="155"/>
                  </a:cubicBezTo>
                  <a:cubicBezTo>
                    <a:pt x="153" y="158"/>
                    <a:pt x="153" y="161"/>
                    <a:pt x="155" y="164"/>
                  </a:cubicBezTo>
                  <a:cubicBezTo>
                    <a:pt x="184" y="192"/>
                    <a:pt x="184" y="192"/>
                    <a:pt x="184" y="192"/>
                  </a:cubicBezTo>
                  <a:cubicBezTo>
                    <a:pt x="185" y="193"/>
                    <a:pt x="186" y="194"/>
                    <a:pt x="188" y="194"/>
                  </a:cubicBezTo>
                  <a:cubicBezTo>
                    <a:pt x="189" y="194"/>
                    <a:pt x="191" y="193"/>
                    <a:pt x="192" y="192"/>
                  </a:cubicBezTo>
                  <a:cubicBezTo>
                    <a:pt x="194" y="190"/>
                    <a:pt x="194" y="186"/>
                    <a:pt x="192" y="184"/>
                  </a:cubicBezTo>
                  <a:lnTo>
                    <a:pt x="163" y="155"/>
                  </a:lnTo>
                  <a:close/>
                  <a:moveTo>
                    <a:pt x="219" y="107"/>
                  </a:moveTo>
                  <a:cubicBezTo>
                    <a:pt x="179" y="107"/>
                    <a:pt x="179" y="107"/>
                    <a:pt x="179" y="107"/>
                  </a:cubicBezTo>
                  <a:cubicBezTo>
                    <a:pt x="176" y="107"/>
                    <a:pt x="173" y="110"/>
                    <a:pt x="173" y="113"/>
                  </a:cubicBezTo>
                  <a:cubicBezTo>
                    <a:pt x="173" y="116"/>
                    <a:pt x="176" y="118"/>
                    <a:pt x="179" y="118"/>
                  </a:cubicBezTo>
                  <a:cubicBezTo>
                    <a:pt x="219" y="118"/>
                    <a:pt x="219" y="118"/>
                    <a:pt x="219" y="118"/>
                  </a:cubicBezTo>
                  <a:cubicBezTo>
                    <a:pt x="222" y="118"/>
                    <a:pt x="225" y="116"/>
                    <a:pt x="225" y="113"/>
                  </a:cubicBezTo>
                  <a:cubicBezTo>
                    <a:pt x="225" y="110"/>
                    <a:pt x="222" y="107"/>
                    <a:pt x="219" y="107"/>
                  </a:cubicBezTo>
                  <a:close/>
                  <a:moveTo>
                    <a:pt x="159" y="72"/>
                  </a:moveTo>
                  <a:cubicBezTo>
                    <a:pt x="161" y="72"/>
                    <a:pt x="162" y="71"/>
                    <a:pt x="163" y="70"/>
                  </a:cubicBezTo>
                  <a:cubicBezTo>
                    <a:pt x="192" y="41"/>
                    <a:pt x="192" y="41"/>
                    <a:pt x="192" y="41"/>
                  </a:cubicBezTo>
                  <a:cubicBezTo>
                    <a:pt x="194" y="39"/>
                    <a:pt x="194" y="36"/>
                    <a:pt x="192" y="33"/>
                  </a:cubicBezTo>
                  <a:cubicBezTo>
                    <a:pt x="190" y="31"/>
                    <a:pt x="186" y="31"/>
                    <a:pt x="184" y="33"/>
                  </a:cubicBezTo>
                  <a:cubicBezTo>
                    <a:pt x="155" y="62"/>
                    <a:pt x="155" y="62"/>
                    <a:pt x="155" y="62"/>
                  </a:cubicBezTo>
                  <a:cubicBezTo>
                    <a:pt x="153" y="64"/>
                    <a:pt x="153" y="68"/>
                    <a:pt x="155" y="70"/>
                  </a:cubicBezTo>
                  <a:cubicBezTo>
                    <a:pt x="156" y="71"/>
                    <a:pt x="158" y="72"/>
                    <a:pt x="159" y="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2" name="Rectangle 41"/>
          <p:cNvSpPr/>
          <p:nvPr/>
        </p:nvSpPr>
        <p:spPr>
          <a:xfrm>
            <a:off x="2623600" y="2435471"/>
            <a:ext cx="1825029" cy="156966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1600" b="1" dirty="0"/>
              <a:t>Electron Beam water-based</a:t>
            </a:r>
            <a:r>
              <a:rPr lang="en-US" sz="1600" dirty="0"/>
              <a:t> versions are required for surface print with good </a:t>
            </a:r>
            <a:r>
              <a:rPr lang="en-US" sz="1600" dirty="0" err="1"/>
              <a:t>resolubility</a:t>
            </a:r>
            <a:endParaRPr lang="en-US" sz="1600" dirty="0"/>
          </a:p>
        </p:txBody>
      </p:sp>
      <p:sp>
        <p:nvSpPr>
          <p:cNvPr id="43" name="Rectangle 42"/>
          <p:cNvSpPr/>
          <p:nvPr/>
        </p:nvSpPr>
        <p:spPr>
          <a:xfrm>
            <a:off x="4686887" y="2433608"/>
            <a:ext cx="2055000" cy="132343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1600" b="1" dirty="0" err="1"/>
              <a:t>WetFlex</a:t>
            </a:r>
            <a:r>
              <a:rPr lang="en-US" sz="1600" b="1" dirty="0"/>
              <a:t> </a:t>
            </a:r>
            <a:r>
              <a:rPr lang="en-US" sz="1600" dirty="0"/>
              <a:t>specifically offers gravure quality high speed printing and is an “Ultra Press friendly” solution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922742" y="2435471"/>
            <a:ext cx="1825722" cy="2062103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1600" b="1" dirty="0"/>
              <a:t>Electron Beam Offset </a:t>
            </a:r>
            <a:r>
              <a:rPr lang="en-US" sz="1600" dirty="0"/>
              <a:t>is the best option for fast turnaround / short run with low cost plates based on the extended gamut concept</a:t>
            </a:r>
          </a:p>
        </p:txBody>
      </p:sp>
      <p:grpSp>
        <p:nvGrpSpPr>
          <p:cNvPr id="85" name="Group 84"/>
          <p:cNvGrpSpPr/>
          <p:nvPr/>
        </p:nvGrpSpPr>
        <p:grpSpPr>
          <a:xfrm>
            <a:off x="4686887" y="1161328"/>
            <a:ext cx="1158028" cy="1158028"/>
            <a:chOff x="4686887" y="1161328"/>
            <a:chExt cx="1158028" cy="1158028"/>
          </a:xfrm>
        </p:grpSpPr>
        <p:sp>
          <p:nvSpPr>
            <p:cNvPr id="50" name="Rectangle 49"/>
            <p:cNvSpPr/>
            <p:nvPr/>
          </p:nvSpPr>
          <p:spPr>
            <a:xfrm>
              <a:off x="4686887" y="1161328"/>
              <a:ext cx="1158028" cy="115802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55" name="Group 4"/>
            <p:cNvGrpSpPr>
              <a:grpSpLocks noChangeAspect="1"/>
            </p:cNvGrpSpPr>
            <p:nvPr/>
          </p:nvGrpSpPr>
          <p:grpSpPr bwMode="auto">
            <a:xfrm>
              <a:off x="4748433" y="1569814"/>
              <a:ext cx="1031444" cy="445945"/>
              <a:chOff x="2251" y="1334"/>
              <a:chExt cx="1323" cy="572"/>
            </a:xfrm>
            <a:solidFill>
              <a:schemeClr val="bg1"/>
            </a:solidFill>
          </p:grpSpPr>
          <p:sp>
            <p:nvSpPr>
              <p:cNvPr id="57" name="Freeform 5"/>
              <p:cNvSpPr>
                <a:spLocks/>
              </p:cNvSpPr>
              <p:nvPr/>
            </p:nvSpPr>
            <p:spPr bwMode="auto">
              <a:xfrm>
                <a:off x="2804" y="1334"/>
                <a:ext cx="770" cy="572"/>
              </a:xfrm>
              <a:custGeom>
                <a:avLst/>
                <a:gdLst>
                  <a:gd name="T0" fmla="*/ 12 w 470"/>
                  <a:gd name="T1" fmla="*/ 219 h 347"/>
                  <a:gd name="T2" fmla="*/ 428 w 470"/>
                  <a:gd name="T3" fmla="*/ 62 h 347"/>
                  <a:gd name="T4" fmla="*/ 386 w 470"/>
                  <a:gd name="T5" fmla="*/ 342 h 347"/>
                  <a:gd name="T6" fmla="*/ 326 w 470"/>
                  <a:gd name="T7" fmla="*/ 304 h 347"/>
                  <a:gd name="T8" fmla="*/ 330 w 470"/>
                  <a:gd name="T9" fmla="*/ 287 h 347"/>
                  <a:gd name="T10" fmla="*/ 356 w 470"/>
                  <a:gd name="T11" fmla="*/ 282 h 347"/>
                  <a:gd name="T12" fmla="*/ 411 w 470"/>
                  <a:gd name="T13" fmla="*/ 238 h 347"/>
                  <a:gd name="T14" fmla="*/ 370 w 470"/>
                  <a:gd name="T15" fmla="*/ 233 h 347"/>
                  <a:gd name="T16" fmla="*/ 387 w 470"/>
                  <a:gd name="T17" fmla="*/ 203 h 347"/>
                  <a:gd name="T18" fmla="*/ 422 w 470"/>
                  <a:gd name="T19" fmla="*/ 144 h 347"/>
                  <a:gd name="T20" fmla="*/ 382 w 470"/>
                  <a:gd name="T21" fmla="*/ 162 h 347"/>
                  <a:gd name="T22" fmla="*/ 379 w 470"/>
                  <a:gd name="T23" fmla="*/ 129 h 347"/>
                  <a:gd name="T24" fmla="*/ 382 w 470"/>
                  <a:gd name="T25" fmla="*/ 70 h 347"/>
                  <a:gd name="T26" fmla="*/ 341 w 470"/>
                  <a:gd name="T27" fmla="*/ 107 h 347"/>
                  <a:gd name="T28" fmla="*/ 326 w 470"/>
                  <a:gd name="T29" fmla="*/ 93 h 347"/>
                  <a:gd name="T30" fmla="*/ 354 w 470"/>
                  <a:gd name="T31" fmla="*/ 51 h 347"/>
                  <a:gd name="T32" fmla="*/ 291 w 470"/>
                  <a:gd name="T33" fmla="*/ 70 h 347"/>
                  <a:gd name="T34" fmla="*/ 258 w 470"/>
                  <a:gd name="T35" fmla="*/ 80 h 347"/>
                  <a:gd name="T36" fmla="*/ 264 w 470"/>
                  <a:gd name="T37" fmla="*/ 37 h 347"/>
                  <a:gd name="T38" fmla="*/ 209 w 470"/>
                  <a:gd name="T39" fmla="*/ 81 h 347"/>
                  <a:gd name="T40" fmla="*/ 189 w 470"/>
                  <a:gd name="T41" fmla="*/ 107 h 347"/>
                  <a:gd name="T42" fmla="*/ 166 w 470"/>
                  <a:gd name="T43" fmla="*/ 70 h 347"/>
                  <a:gd name="T44" fmla="*/ 133 w 470"/>
                  <a:gd name="T45" fmla="*/ 129 h 347"/>
                  <a:gd name="T46" fmla="*/ 134 w 470"/>
                  <a:gd name="T47" fmla="*/ 155 h 347"/>
                  <a:gd name="T48" fmla="*/ 109 w 470"/>
                  <a:gd name="T49" fmla="*/ 160 h 347"/>
                  <a:gd name="T50" fmla="*/ 53 w 470"/>
                  <a:gd name="T51" fmla="*/ 203 h 347"/>
                  <a:gd name="T52" fmla="*/ 95 w 470"/>
                  <a:gd name="T53" fmla="*/ 209 h 347"/>
                  <a:gd name="T54" fmla="*/ 78 w 470"/>
                  <a:gd name="T55" fmla="*/ 238 h 347"/>
                  <a:gd name="T56" fmla="*/ 42 w 470"/>
                  <a:gd name="T57" fmla="*/ 297 h 347"/>
                  <a:gd name="T58" fmla="*/ 83 w 470"/>
                  <a:gd name="T59" fmla="*/ 279 h 347"/>
                  <a:gd name="T60" fmla="*/ 96 w 470"/>
                  <a:gd name="T61" fmla="*/ 303 h 347"/>
                  <a:gd name="T62" fmla="*/ 18 w 470"/>
                  <a:gd name="T63" fmla="*/ 347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70" h="347">
                    <a:moveTo>
                      <a:pt x="15" y="339"/>
                    </a:moveTo>
                    <a:cubicBezTo>
                      <a:pt x="1" y="303"/>
                      <a:pt x="0" y="261"/>
                      <a:pt x="12" y="219"/>
                    </a:cubicBezTo>
                    <a:cubicBezTo>
                      <a:pt x="44" y="98"/>
                      <a:pt x="169" y="0"/>
                      <a:pt x="290" y="0"/>
                    </a:cubicBezTo>
                    <a:cubicBezTo>
                      <a:pt x="348" y="0"/>
                      <a:pt x="397" y="22"/>
                      <a:pt x="428" y="62"/>
                    </a:cubicBezTo>
                    <a:cubicBezTo>
                      <a:pt x="461" y="105"/>
                      <a:pt x="470" y="162"/>
                      <a:pt x="453" y="223"/>
                    </a:cubicBezTo>
                    <a:cubicBezTo>
                      <a:pt x="442" y="265"/>
                      <a:pt x="419" y="306"/>
                      <a:pt x="386" y="342"/>
                    </a:cubicBezTo>
                    <a:cubicBezTo>
                      <a:pt x="381" y="347"/>
                      <a:pt x="381" y="347"/>
                      <a:pt x="381" y="347"/>
                    </a:cubicBezTo>
                    <a:cubicBezTo>
                      <a:pt x="326" y="304"/>
                      <a:pt x="326" y="304"/>
                      <a:pt x="326" y="304"/>
                    </a:cubicBezTo>
                    <a:cubicBezTo>
                      <a:pt x="326" y="300"/>
                      <a:pt x="326" y="300"/>
                      <a:pt x="326" y="300"/>
                    </a:cubicBezTo>
                    <a:cubicBezTo>
                      <a:pt x="325" y="296"/>
                      <a:pt x="327" y="291"/>
                      <a:pt x="330" y="287"/>
                    </a:cubicBezTo>
                    <a:cubicBezTo>
                      <a:pt x="335" y="282"/>
                      <a:pt x="341" y="279"/>
                      <a:pt x="346" y="279"/>
                    </a:cubicBezTo>
                    <a:cubicBezTo>
                      <a:pt x="350" y="279"/>
                      <a:pt x="353" y="280"/>
                      <a:pt x="356" y="282"/>
                    </a:cubicBezTo>
                    <a:cubicBezTo>
                      <a:pt x="379" y="298"/>
                      <a:pt x="379" y="298"/>
                      <a:pt x="379" y="298"/>
                    </a:cubicBezTo>
                    <a:cubicBezTo>
                      <a:pt x="393" y="279"/>
                      <a:pt x="404" y="259"/>
                      <a:pt x="411" y="238"/>
                    </a:cubicBezTo>
                    <a:cubicBezTo>
                      <a:pt x="382" y="238"/>
                      <a:pt x="382" y="238"/>
                      <a:pt x="382" y="238"/>
                    </a:cubicBezTo>
                    <a:cubicBezTo>
                      <a:pt x="377" y="238"/>
                      <a:pt x="372" y="236"/>
                      <a:pt x="370" y="233"/>
                    </a:cubicBezTo>
                    <a:cubicBezTo>
                      <a:pt x="367" y="229"/>
                      <a:pt x="366" y="224"/>
                      <a:pt x="367" y="219"/>
                    </a:cubicBezTo>
                    <a:cubicBezTo>
                      <a:pt x="370" y="210"/>
                      <a:pt x="378" y="203"/>
                      <a:pt x="387" y="203"/>
                    </a:cubicBezTo>
                    <a:cubicBezTo>
                      <a:pt x="421" y="203"/>
                      <a:pt x="421" y="203"/>
                      <a:pt x="421" y="203"/>
                    </a:cubicBezTo>
                    <a:cubicBezTo>
                      <a:pt x="425" y="182"/>
                      <a:pt x="426" y="163"/>
                      <a:pt x="422" y="144"/>
                    </a:cubicBezTo>
                    <a:cubicBezTo>
                      <a:pt x="391" y="160"/>
                      <a:pt x="391" y="160"/>
                      <a:pt x="391" y="160"/>
                    </a:cubicBezTo>
                    <a:cubicBezTo>
                      <a:pt x="388" y="162"/>
                      <a:pt x="385" y="162"/>
                      <a:pt x="382" y="162"/>
                    </a:cubicBezTo>
                    <a:cubicBezTo>
                      <a:pt x="375" y="162"/>
                      <a:pt x="369" y="158"/>
                      <a:pt x="367" y="152"/>
                    </a:cubicBezTo>
                    <a:cubicBezTo>
                      <a:pt x="365" y="143"/>
                      <a:pt x="370" y="133"/>
                      <a:pt x="379" y="129"/>
                    </a:cubicBezTo>
                    <a:cubicBezTo>
                      <a:pt x="413" y="112"/>
                      <a:pt x="413" y="112"/>
                      <a:pt x="413" y="112"/>
                    </a:cubicBezTo>
                    <a:cubicBezTo>
                      <a:pt x="405" y="95"/>
                      <a:pt x="395" y="81"/>
                      <a:pt x="382" y="70"/>
                    </a:cubicBezTo>
                    <a:cubicBezTo>
                      <a:pt x="357" y="99"/>
                      <a:pt x="357" y="99"/>
                      <a:pt x="357" y="99"/>
                    </a:cubicBezTo>
                    <a:cubicBezTo>
                      <a:pt x="353" y="104"/>
                      <a:pt x="347" y="107"/>
                      <a:pt x="341" y="107"/>
                    </a:cubicBezTo>
                    <a:cubicBezTo>
                      <a:pt x="338" y="107"/>
                      <a:pt x="335" y="106"/>
                      <a:pt x="332" y="104"/>
                    </a:cubicBezTo>
                    <a:cubicBezTo>
                      <a:pt x="329" y="101"/>
                      <a:pt x="327" y="98"/>
                      <a:pt x="326" y="93"/>
                    </a:cubicBezTo>
                    <a:cubicBezTo>
                      <a:pt x="325" y="88"/>
                      <a:pt x="327" y="83"/>
                      <a:pt x="331" y="79"/>
                    </a:cubicBezTo>
                    <a:cubicBezTo>
                      <a:pt x="354" y="51"/>
                      <a:pt x="354" y="51"/>
                      <a:pt x="354" y="51"/>
                    </a:cubicBezTo>
                    <a:cubicBezTo>
                      <a:pt x="338" y="43"/>
                      <a:pt x="320" y="38"/>
                      <a:pt x="300" y="36"/>
                    </a:cubicBezTo>
                    <a:cubicBezTo>
                      <a:pt x="291" y="70"/>
                      <a:pt x="291" y="70"/>
                      <a:pt x="291" y="70"/>
                    </a:cubicBezTo>
                    <a:cubicBezTo>
                      <a:pt x="289" y="79"/>
                      <a:pt x="280" y="86"/>
                      <a:pt x="271" y="86"/>
                    </a:cubicBezTo>
                    <a:cubicBezTo>
                      <a:pt x="266" y="86"/>
                      <a:pt x="261" y="84"/>
                      <a:pt x="258" y="80"/>
                    </a:cubicBezTo>
                    <a:cubicBezTo>
                      <a:pt x="255" y="76"/>
                      <a:pt x="255" y="71"/>
                      <a:pt x="256" y="66"/>
                    </a:cubicBezTo>
                    <a:cubicBezTo>
                      <a:pt x="264" y="37"/>
                      <a:pt x="264" y="37"/>
                      <a:pt x="264" y="37"/>
                    </a:cubicBezTo>
                    <a:cubicBezTo>
                      <a:pt x="243" y="39"/>
                      <a:pt x="222" y="44"/>
                      <a:pt x="201" y="53"/>
                    </a:cubicBezTo>
                    <a:cubicBezTo>
                      <a:pt x="209" y="81"/>
                      <a:pt x="209" y="81"/>
                      <a:pt x="209" y="81"/>
                    </a:cubicBezTo>
                    <a:cubicBezTo>
                      <a:pt x="212" y="90"/>
                      <a:pt x="207" y="100"/>
                      <a:pt x="198" y="104"/>
                    </a:cubicBezTo>
                    <a:cubicBezTo>
                      <a:pt x="195" y="106"/>
                      <a:pt x="192" y="107"/>
                      <a:pt x="189" y="107"/>
                    </a:cubicBezTo>
                    <a:cubicBezTo>
                      <a:pt x="182" y="107"/>
                      <a:pt x="176" y="102"/>
                      <a:pt x="174" y="96"/>
                    </a:cubicBezTo>
                    <a:cubicBezTo>
                      <a:pt x="166" y="70"/>
                      <a:pt x="166" y="70"/>
                      <a:pt x="166" y="70"/>
                    </a:cubicBezTo>
                    <a:cubicBezTo>
                      <a:pt x="146" y="83"/>
                      <a:pt x="128" y="97"/>
                      <a:pt x="111" y="114"/>
                    </a:cubicBezTo>
                    <a:cubicBezTo>
                      <a:pt x="133" y="129"/>
                      <a:pt x="133" y="129"/>
                      <a:pt x="133" y="129"/>
                    </a:cubicBezTo>
                    <a:cubicBezTo>
                      <a:pt x="136" y="132"/>
                      <a:pt x="139" y="135"/>
                      <a:pt x="139" y="140"/>
                    </a:cubicBezTo>
                    <a:cubicBezTo>
                      <a:pt x="140" y="145"/>
                      <a:pt x="138" y="150"/>
                      <a:pt x="134" y="155"/>
                    </a:cubicBezTo>
                    <a:cubicBezTo>
                      <a:pt x="130" y="159"/>
                      <a:pt x="124" y="162"/>
                      <a:pt x="118" y="162"/>
                    </a:cubicBezTo>
                    <a:cubicBezTo>
                      <a:pt x="115" y="162"/>
                      <a:pt x="112" y="161"/>
                      <a:pt x="109" y="160"/>
                    </a:cubicBezTo>
                    <a:cubicBezTo>
                      <a:pt x="86" y="144"/>
                      <a:pt x="86" y="144"/>
                      <a:pt x="86" y="144"/>
                    </a:cubicBezTo>
                    <a:cubicBezTo>
                      <a:pt x="72" y="162"/>
                      <a:pt x="61" y="182"/>
                      <a:pt x="53" y="203"/>
                    </a:cubicBezTo>
                    <a:cubicBezTo>
                      <a:pt x="83" y="203"/>
                      <a:pt x="83" y="203"/>
                      <a:pt x="83" y="203"/>
                    </a:cubicBezTo>
                    <a:cubicBezTo>
                      <a:pt x="88" y="203"/>
                      <a:pt x="92" y="205"/>
                      <a:pt x="95" y="209"/>
                    </a:cubicBezTo>
                    <a:cubicBezTo>
                      <a:pt x="98" y="212"/>
                      <a:pt x="99" y="218"/>
                      <a:pt x="98" y="223"/>
                    </a:cubicBezTo>
                    <a:cubicBezTo>
                      <a:pt x="95" y="232"/>
                      <a:pt x="87" y="238"/>
                      <a:pt x="78" y="238"/>
                    </a:cubicBezTo>
                    <a:cubicBezTo>
                      <a:pt x="43" y="238"/>
                      <a:pt x="43" y="238"/>
                      <a:pt x="43" y="238"/>
                    </a:cubicBezTo>
                    <a:cubicBezTo>
                      <a:pt x="40" y="259"/>
                      <a:pt x="39" y="278"/>
                      <a:pt x="42" y="297"/>
                    </a:cubicBezTo>
                    <a:cubicBezTo>
                      <a:pt x="74" y="281"/>
                      <a:pt x="74" y="281"/>
                      <a:pt x="74" y="281"/>
                    </a:cubicBezTo>
                    <a:cubicBezTo>
                      <a:pt x="77" y="280"/>
                      <a:pt x="80" y="279"/>
                      <a:pt x="83" y="279"/>
                    </a:cubicBezTo>
                    <a:cubicBezTo>
                      <a:pt x="90" y="279"/>
                      <a:pt x="96" y="283"/>
                      <a:pt x="98" y="289"/>
                    </a:cubicBezTo>
                    <a:cubicBezTo>
                      <a:pt x="99" y="294"/>
                      <a:pt x="98" y="299"/>
                      <a:pt x="96" y="303"/>
                    </a:cubicBezTo>
                    <a:cubicBezTo>
                      <a:pt x="95" y="305"/>
                      <a:pt x="95" y="305"/>
                      <a:pt x="95" y="305"/>
                    </a:cubicBezTo>
                    <a:cubicBezTo>
                      <a:pt x="18" y="347"/>
                      <a:pt x="18" y="347"/>
                      <a:pt x="18" y="347"/>
                    </a:cubicBezTo>
                    <a:lnTo>
                      <a:pt x="15" y="3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6"/>
              <p:cNvSpPr>
                <a:spLocks/>
              </p:cNvSpPr>
              <p:nvPr/>
            </p:nvSpPr>
            <p:spPr bwMode="auto">
              <a:xfrm>
                <a:off x="3130" y="1586"/>
                <a:ext cx="275" cy="157"/>
              </a:xfrm>
              <a:custGeom>
                <a:avLst/>
                <a:gdLst>
                  <a:gd name="T0" fmla="*/ 26 w 168"/>
                  <a:gd name="T1" fmla="*/ 95 h 95"/>
                  <a:gd name="T2" fmla="*/ 6 w 168"/>
                  <a:gd name="T3" fmla="*/ 86 h 95"/>
                  <a:gd name="T4" fmla="*/ 2 w 168"/>
                  <a:gd name="T5" fmla="*/ 63 h 95"/>
                  <a:gd name="T6" fmla="*/ 32 w 168"/>
                  <a:gd name="T7" fmla="*/ 40 h 95"/>
                  <a:gd name="T8" fmla="*/ 39 w 168"/>
                  <a:gd name="T9" fmla="*/ 40 h 95"/>
                  <a:gd name="T10" fmla="*/ 148 w 168"/>
                  <a:gd name="T11" fmla="*/ 0 h 95"/>
                  <a:gd name="T12" fmla="*/ 165 w 168"/>
                  <a:gd name="T13" fmla="*/ 13 h 95"/>
                  <a:gd name="T14" fmla="*/ 52 w 168"/>
                  <a:gd name="T15" fmla="*/ 81 h 95"/>
                  <a:gd name="T16" fmla="*/ 26 w 168"/>
                  <a:gd name="T17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8" h="95">
                    <a:moveTo>
                      <a:pt x="26" y="95"/>
                    </a:moveTo>
                    <a:cubicBezTo>
                      <a:pt x="18" y="95"/>
                      <a:pt x="11" y="92"/>
                      <a:pt x="6" y="86"/>
                    </a:cubicBezTo>
                    <a:cubicBezTo>
                      <a:pt x="1" y="80"/>
                      <a:pt x="0" y="71"/>
                      <a:pt x="2" y="63"/>
                    </a:cubicBezTo>
                    <a:cubicBezTo>
                      <a:pt x="5" y="50"/>
                      <a:pt x="19" y="40"/>
                      <a:pt x="32" y="40"/>
                    </a:cubicBezTo>
                    <a:cubicBezTo>
                      <a:pt x="35" y="40"/>
                      <a:pt x="37" y="40"/>
                      <a:pt x="39" y="40"/>
                    </a:cubicBezTo>
                    <a:cubicBezTo>
                      <a:pt x="137" y="0"/>
                      <a:pt x="144" y="0"/>
                      <a:pt x="148" y="0"/>
                    </a:cubicBezTo>
                    <a:cubicBezTo>
                      <a:pt x="156" y="0"/>
                      <a:pt x="163" y="5"/>
                      <a:pt x="165" y="13"/>
                    </a:cubicBezTo>
                    <a:cubicBezTo>
                      <a:pt x="168" y="28"/>
                      <a:pt x="166" y="31"/>
                      <a:pt x="52" y="81"/>
                    </a:cubicBezTo>
                    <a:cubicBezTo>
                      <a:pt x="46" y="90"/>
                      <a:pt x="36" y="95"/>
                      <a:pt x="26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7"/>
              <p:cNvSpPr>
                <a:spLocks/>
              </p:cNvSpPr>
              <p:nvPr/>
            </p:nvSpPr>
            <p:spPr bwMode="auto">
              <a:xfrm>
                <a:off x="3130" y="1586"/>
                <a:ext cx="275" cy="157"/>
              </a:xfrm>
              <a:custGeom>
                <a:avLst/>
                <a:gdLst>
                  <a:gd name="T0" fmla="*/ 26 w 168"/>
                  <a:gd name="T1" fmla="*/ 95 h 95"/>
                  <a:gd name="T2" fmla="*/ 6 w 168"/>
                  <a:gd name="T3" fmla="*/ 86 h 95"/>
                  <a:gd name="T4" fmla="*/ 2 w 168"/>
                  <a:gd name="T5" fmla="*/ 63 h 95"/>
                  <a:gd name="T6" fmla="*/ 32 w 168"/>
                  <a:gd name="T7" fmla="*/ 40 h 95"/>
                  <a:gd name="T8" fmla="*/ 39 w 168"/>
                  <a:gd name="T9" fmla="*/ 40 h 95"/>
                  <a:gd name="T10" fmla="*/ 148 w 168"/>
                  <a:gd name="T11" fmla="*/ 0 h 95"/>
                  <a:gd name="T12" fmla="*/ 165 w 168"/>
                  <a:gd name="T13" fmla="*/ 13 h 95"/>
                  <a:gd name="T14" fmla="*/ 52 w 168"/>
                  <a:gd name="T15" fmla="*/ 81 h 95"/>
                  <a:gd name="T16" fmla="*/ 26 w 168"/>
                  <a:gd name="T17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8" h="95">
                    <a:moveTo>
                      <a:pt x="26" y="95"/>
                    </a:moveTo>
                    <a:cubicBezTo>
                      <a:pt x="18" y="95"/>
                      <a:pt x="11" y="92"/>
                      <a:pt x="6" y="86"/>
                    </a:cubicBezTo>
                    <a:cubicBezTo>
                      <a:pt x="1" y="80"/>
                      <a:pt x="0" y="71"/>
                      <a:pt x="2" y="63"/>
                    </a:cubicBezTo>
                    <a:cubicBezTo>
                      <a:pt x="5" y="50"/>
                      <a:pt x="19" y="40"/>
                      <a:pt x="32" y="40"/>
                    </a:cubicBezTo>
                    <a:cubicBezTo>
                      <a:pt x="35" y="40"/>
                      <a:pt x="37" y="40"/>
                      <a:pt x="39" y="40"/>
                    </a:cubicBezTo>
                    <a:cubicBezTo>
                      <a:pt x="137" y="0"/>
                      <a:pt x="144" y="0"/>
                      <a:pt x="148" y="0"/>
                    </a:cubicBezTo>
                    <a:cubicBezTo>
                      <a:pt x="156" y="0"/>
                      <a:pt x="163" y="5"/>
                      <a:pt x="165" y="13"/>
                    </a:cubicBezTo>
                    <a:cubicBezTo>
                      <a:pt x="168" y="28"/>
                      <a:pt x="166" y="31"/>
                      <a:pt x="52" y="81"/>
                    </a:cubicBezTo>
                    <a:cubicBezTo>
                      <a:pt x="46" y="90"/>
                      <a:pt x="36" y="95"/>
                      <a:pt x="26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8"/>
              <p:cNvSpPr>
                <a:spLocks/>
              </p:cNvSpPr>
              <p:nvPr/>
            </p:nvSpPr>
            <p:spPr bwMode="auto">
              <a:xfrm flipV="1">
                <a:off x="2467" y="1354"/>
                <a:ext cx="500" cy="57"/>
              </a:xfrm>
              <a:custGeom>
                <a:avLst/>
                <a:gdLst>
                  <a:gd name="T0" fmla="*/ 333 w 353"/>
                  <a:gd name="T1" fmla="*/ 40 h 40"/>
                  <a:gd name="T2" fmla="*/ 20 w 353"/>
                  <a:gd name="T3" fmla="*/ 40 h 40"/>
                  <a:gd name="T4" fmla="*/ 0 w 353"/>
                  <a:gd name="T5" fmla="*/ 20 h 40"/>
                  <a:gd name="T6" fmla="*/ 20 w 353"/>
                  <a:gd name="T7" fmla="*/ 0 h 40"/>
                  <a:gd name="T8" fmla="*/ 333 w 353"/>
                  <a:gd name="T9" fmla="*/ 0 h 40"/>
                  <a:gd name="T10" fmla="*/ 353 w 353"/>
                  <a:gd name="T11" fmla="*/ 20 h 40"/>
                  <a:gd name="T12" fmla="*/ 333 w 353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3" h="40">
                    <a:moveTo>
                      <a:pt x="333" y="40"/>
                    </a:moveTo>
                    <a:cubicBezTo>
                      <a:pt x="20" y="40"/>
                      <a:pt x="20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3" y="0"/>
                      <a:pt x="333" y="0"/>
                      <a:pt x="333" y="0"/>
                    </a:cubicBezTo>
                    <a:cubicBezTo>
                      <a:pt x="344" y="0"/>
                      <a:pt x="353" y="9"/>
                      <a:pt x="353" y="20"/>
                    </a:cubicBezTo>
                    <a:cubicBezTo>
                      <a:pt x="353" y="31"/>
                      <a:pt x="344" y="40"/>
                      <a:pt x="333" y="4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9"/>
              <p:cNvSpPr>
                <a:spLocks/>
              </p:cNvSpPr>
              <p:nvPr/>
            </p:nvSpPr>
            <p:spPr bwMode="auto">
              <a:xfrm flipV="1">
                <a:off x="2330" y="1502"/>
                <a:ext cx="499" cy="57"/>
              </a:xfrm>
              <a:custGeom>
                <a:avLst/>
                <a:gdLst>
                  <a:gd name="T0" fmla="*/ 333 w 353"/>
                  <a:gd name="T1" fmla="*/ 40 h 40"/>
                  <a:gd name="T2" fmla="*/ 20 w 353"/>
                  <a:gd name="T3" fmla="*/ 40 h 40"/>
                  <a:gd name="T4" fmla="*/ 0 w 353"/>
                  <a:gd name="T5" fmla="*/ 20 h 40"/>
                  <a:gd name="T6" fmla="*/ 20 w 353"/>
                  <a:gd name="T7" fmla="*/ 0 h 40"/>
                  <a:gd name="T8" fmla="*/ 333 w 353"/>
                  <a:gd name="T9" fmla="*/ 0 h 40"/>
                  <a:gd name="T10" fmla="*/ 353 w 353"/>
                  <a:gd name="T11" fmla="*/ 20 h 40"/>
                  <a:gd name="T12" fmla="*/ 333 w 353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3" h="40">
                    <a:moveTo>
                      <a:pt x="333" y="40"/>
                    </a:moveTo>
                    <a:cubicBezTo>
                      <a:pt x="20" y="40"/>
                      <a:pt x="20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3" y="0"/>
                      <a:pt x="333" y="0"/>
                      <a:pt x="333" y="0"/>
                    </a:cubicBezTo>
                    <a:cubicBezTo>
                      <a:pt x="344" y="0"/>
                      <a:pt x="353" y="9"/>
                      <a:pt x="353" y="20"/>
                    </a:cubicBezTo>
                    <a:cubicBezTo>
                      <a:pt x="353" y="31"/>
                      <a:pt x="344" y="40"/>
                      <a:pt x="333" y="4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10"/>
              <p:cNvSpPr>
                <a:spLocks/>
              </p:cNvSpPr>
              <p:nvPr/>
            </p:nvSpPr>
            <p:spPr bwMode="auto">
              <a:xfrm flipV="1">
                <a:off x="2251" y="1650"/>
                <a:ext cx="500" cy="57"/>
              </a:xfrm>
              <a:custGeom>
                <a:avLst/>
                <a:gdLst>
                  <a:gd name="T0" fmla="*/ 333 w 353"/>
                  <a:gd name="T1" fmla="*/ 40 h 40"/>
                  <a:gd name="T2" fmla="*/ 20 w 353"/>
                  <a:gd name="T3" fmla="*/ 40 h 40"/>
                  <a:gd name="T4" fmla="*/ 0 w 353"/>
                  <a:gd name="T5" fmla="*/ 20 h 40"/>
                  <a:gd name="T6" fmla="*/ 20 w 353"/>
                  <a:gd name="T7" fmla="*/ 0 h 40"/>
                  <a:gd name="T8" fmla="*/ 333 w 353"/>
                  <a:gd name="T9" fmla="*/ 0 h 40"/>
                  <a:gd name="T10" fmla="*/ 353 w 353"/>
                  <a:gd name="T11" fmla="*/ 20 h 40"/>
                  <a:gd name="T12" fmla="*/ 333 w 353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3" h="40">
                    <a:moveTo>
                      <a:pt x="333" y="40"/>
                    </a:moveTo>
                    <a:cubicBezTo>
                      <a:pt x="20" y="40"/>
                      <a:pt x="20" y="40"/>
                      <a:pt x="20" y="40"/>
                    </a:cubicBezTo>
                    <a:cubicBezTo>
                      <a:pt x="8" y="40"/>
                      <a:pt x="0" y="31"/>
                      <a:pt x="0" y="20"/>
                    </a:cubicBezTo>
                    <a:cubicBezTo>
                      <a:pt x="0" y="9"/>
                      <a:pt x="8" y="0"/>
                      <a:pt x="20" y="0"/>
                    </a:cubicBezTo>
                    <a:cubicBezTo>
                      <a:pt x="333" y="0"/>
                      <a:pt x="333" y="0"/>
                      <a:pt x="333" y="0"/>
                    </a:cubicBezTo>
                    <a:cubicBezTo>
                      <a:pt x="344" y="0"/>
                      <a:pt x="353" y="9"/>
                      <a:pt x="353" y="20"/>
                    </a:cubicBezTo>
                    <a:cubicBezTo>
                      <a:pt x="353" y="31"/>
                      <a:pt x="344" y="40"/>
                      <a:pt x="333" y="4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6" name="Group 85"/>
          <p:cNvGrpSpPr/>
          <p:nvPr/>
        </p:nvGrpSpPr>
        <p:grpSpPr>
          <a:xfrm>
            <a:off x="6922742" y="1161328"/>
            <a:ext cx="1158028" cy="1158028"/>
            <a:chOff x="6922742" y="1161328"/>
            <a:chExt cx="1158028" cy="1158028"/>
          </a:xfrm>
        </p:grpSpPr>
        <p:sp>
          <p:nvSpPr>
            <p:cNvPr id="63" name="Rectangle 62"/>
            <p:cNvSpPr/>
            <p:nvPr/>
          </p:nvSpPr>
          <p:spPr>
            <a:xfrm>
              <a:off x="6922742" y="1161328"/>
              <a:ext cx="1158028" cy="115802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7" name="Freeform 14"/>
            <p:cNvSpPr>
              <a:spLocks noEditPoints="1"/>
            </p:cNvSpPr>
            <p:nvPr/>
          </p:nvSpPr>
          <p:spPr bwMode="auto">
            <a:xfrm>
              <a:off x="7153432" y="1331424"/>
              <a:ext cx="584200" cy="803275"/>
            </a:xfrm>
            <a:custGeom>
              <a:avLst/>
              <a:gdLst>
                <a:gd name="T0" fmla="*/ 104 w 222"/>
                <a:gd name="T1" fmla="*/ 186 h 307"/>
                <a:gd name="T2" fmla="*/ 98 w 222"/>
                <a:gd name="T3" fmla="*/ 201 h 307"/>
                <a:gd name="T4" fmla="*/ 108 w 222"/>
                <a:gd name="T5" fmla="*/ 208 h 307"/>
                <a:gd name="T6" fmla="*/ 119 w 222"/>
                <a:gd name="T7" fmla="*/ 200 h 307"/>
                <a:gd name="T8" fmla="*/ 142 w 222"/>
                <a:gd name="T9" fmla="*/ 123 h 307"/>
                <a:gd name="T10" fmla="*/ 121 w 222"/>
                <a:gd name="T11" fmla="*/ 86 h 307"/>
                <a:gd name="T12" fmla="*/ 123 w 222"/>
                <a:gd name="T13" fmla="*/ 77 h 307"/>
                <a:gd name="T14" fmla="*/ 149 w 222"/>
                <a:gd name="T15" fmla="*/ 38 h 307"/>
                <a:gd name="T16" fmla="*/ 73 w 222"/>
                <a:gd name="T17" fmla="*/ 38 h 307"/>
                <a:gd name="T18" fmla="*/ 100 w 222"/>
                <a:gd name="T19" fmla="*/ 77 h 307"/>
                <a:gd name="T20" fmla="*/ 102 w 222"/>
                <a:gd name="T21" fmla="*/ 86 h 307"/>
                <a:gd name="T22" fmla="*/ 111 w 222"/>
                <a:gd name="T23" fmla="*/ 307 h 307"/>
                <a:gd name="T24" fmla="*/ 121 w 222"/>
                <a:gd name="T25" fmla="*/ 86 h 307"/>
                <a:gd name="T26" fmla="*/ 100 w 222"/>
                <a:gd name="T27" fmla="*/ 64 h 307"/>
                <a:gd name="T28" fmla="*/ 111 w 222"/>
                <a:gd name="T29" fmla="*/ 9 h 307"/>
                <a:gd name="T30" fmla="*/ 123 w 222"/>
                <a:gd name="T31" fmla="*/ 63 h 307"/>
                <a:gd name="T32" fmla="*/ 130 w 222"/>
                <a:gd name="T33" fmla="*/ 40 h 307"/>
                <a:gd name="T34" fmla="*/ 118 w 222"/>
                <a:gd name="T35" fmla="*/ 27 h 307"/>
                <a:gd name="T36" fmla="*/ 94 w 222"/>
                <a:gd name="T37" fmla="*/ 39 h 307"/>
                <a:gd name="T38" fmla="*/ 100 w 222"/>
                <a:gd name="T39" fmla="*/ 50 h 307"/>
                <a:gd name="T40" fmla="*/ 17 w 222"/>
                <a:gd name="T41" fmla="*/ 196 h 307"/>
                <a:gd name="T42" fmla="*/ 205 w 222"/>
                <a:gd name="T43" fmla="*/ 196 h 307"/>
                <a:gd name="T44" fmla="*/ 111 w 222"/>
                <a:gd name="T45" fmla="*/ 130 h 307"/>
                <a:gd name="T46" fmla="*/ 118 w 222"/>
                <a:gd name="T47" fmla="*/ 117 h 307"/>
                <a:gd name="T48" fmla="*/ 104 w 222"/>
                <a:gd name="T49" fmla="*/ 117 h 307"/>
                <a:gd name="T50" fmla="*/ 111 w 222"/>
                <a:gd name="T51" fmla="*/ 130 h 307"/>
                <a:gd name="T52" fmla="*/ 32 w 222"/>
                <a:gd name="T53" fmla="*/ 189 h 307"/>
                <a:gd name="T54" fmla="*/ 32 w 222"/>
                <a:gd name="T55" fmla="*/ 203 h 307"/>
                <a:gd name="T56" fmla="*/ 44 w 222"/>
                <a:gd name="T57" fmla="*/ 196 h 307"/>
                <a:gd name="T58" fmla="*/ 111 w 222"/>
                <a:gd name="T59" fmla="*/ 263 h 307"/>
                <a:gd name="T60" fmla="*/ 104 w 222"/>
                <a:gd name="T61" fmla="*/ 275 h 307"/>
                <a:gd name="T62" fmla="*/ 118 w 222"/>
                <a:gd name="T63" fmla="*/ 275 h 307"/>
                <a:gd name="T64" fmla="*/ 111 w 222"/>
                <a:gd name="T65" fmla="*/ 263 h 307"/>
                <a:gd name="T66" fmla="*/ 184 w 222"/>
                <a:gd name="T67" fmla="*/ 189 h 307"/>
                <a:gd name="T68" fmla="*/ 184 w 222"/>
                <a:gd name="T69" fmla="*/ 203 h 307"/>
                <a:gd name="T70" fmla="*/ 197 w 222"/>
                <a:gd name="T71" fmla="*/ 196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2" h="307">
                  <a:moveTo>
                    <a:pt x="131" y="119"/>
                  </a:moveTo>
                  <a:cubicBezTo>
                    <a:pt x="104" y="186"/>
                    <a:pt x="104" y="186"/>
                    <a:pt x="104" y="186"/>
                  </a:cubicBezTo>
                  <a:cubicBezTo>
                    <a:pt x="101" y="187"/>
                    <a:pt x="99" y="189"/>
                    <a:pt x="98" y="193"/>
                  </a:cubicBezTo>
                  <a:cubicBezTo>
                    <a:pt x="97" y="195"/>
                    <a:pt x="97" y="198"/>
                    <a:pt x="98" y="201"/>
                  </a:cubicBezTo>
                  <a:cubicBezTo>
                    <a:pt x="99" y="204"/>
                    <a:pt x="101" y="206"/>
                    <a:pt x="104" y="207"/>
                  </a:cubicBezTo>
                  <a:cubicBezTo>
                    <a:pt x="106" y="208"/>
                    <a:pt x="107" y="208"/>
                    <a:pt x="108" y="208"/>
                  </a:cubicBezTo>
                  <a:cubicBezTo>
                    <a:pt x="109" y="208"/>
                    <a:pt x="109" y="208"/>
                    <a:pt x="110" y="208"/>
                  </a:cubicBezTo>
                  <a:cubicBezTo>
                    <a:pt x="114" y="207"/>
                    <a:pt x="117" y="204"/>
                    <a:pt x="119" y="200"/>
                  </a:cubicBezTo>
                  <a:cubicBezTo>
                    <a:pt x="120" y="197"/>
                    <a:pt x="120" y="194"/>
                    <a:pt x="118" y="191"/>
                  </a:cubicBezTo>
                  <a:cubicBezTo>
                    <a:pt x="142" y="123"/>
                    <a:pt x="142" y="123"/>
                    <a:pt x="142" y="123"/>
                  </a:cubicBezTo>
                  <a:lnTo>
                    <a:pt x="131" y="119"/>
                  </a:lnTo>
                  <a:close/>
                  <a:moveTo>
                    <a:pt x="121" y="86"/>
                  </a:moveTo>
                  <a:cubicBezTo>
                    <a:pt x="121" y="80"/>
                    <a:pt x="121" y="80"/>
                    <a:pt x="121" y="80"/>
                  </a:cubicBezTo>
                  <a:cubicBezTo>
                    <a:pt x="123" y="77"/>
                    <a:pt x="123" y="77"/>
                    <a:pt x="123" y="77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39" y="68"/>
                    <a:pt x="149" y="54"/>
                    <a:pt x="149" y="38"/>
                  </a:cubicBezTo>
                  <a:cubicBezTo>
                    <a:pt x="149" y="17"/>
                    <a:pt x="132" y="0"/>
                    <a:pt x="111" y="0"/>
                  </a:cubicBezTo>
                  <a:cubicBezTo>
                    <a:pt x="90" y="0"/>
                    <a:pt x="73" y="17"/>
                    <a:pt x="73" y="38"/>
                  </a:cubicBezTo>
                  <a:cubicBezTo>
                    <a:pt x="73" y="54"/>
                    <a:pt x="84" y="69"/>
                    <a:pt x="100" y="74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2" y="80"/>
                    <a:pt x="102" y="80"/>
                    <a:pt x="102" y="80"/>
                  </a:cubicBezTo>
                  <a:cubicBezTo>
                    <a:pt x="102" y="86"/>
                    <a:pt x="102" y="86"/>
                    <a:pt x="102" y="86"/>
                  </a:cubicBezTo>
                  <a:cubicBezTo>
                    <a:pt x="45" y="90"/>
                    <a:pt x="0" y="138"/>
                    <a:pt x="0" y="196"/>
                  </a:cubicBezTo>
                  <a:cubicBezTo>
                    <a:pt x="0" y="258"/>
                    <a:pt x="50" y="307"/>
                    <a:pt x="111" y="307"/>
                  </a:cubicBezTo>
                  <a:cubicBezTo>
                    <a:pt x="172" y="307"/>
                    <a:pt x="222" y="258"/>
                    <a:pt x="222" y="196"/>
                  </a:cubicBezTo>
                  <a:cubicBezTo>
                    <a:pt x="222" y="139"/>
                    <a:pt x="177" y="91"/>
                    <a:pt x="121" y="86"/>
                  </a:cubicBezTo>
                  <a:close/>
                  <a:moveTo>
                    <a:pt x="100" y="50"/>
                  </a:moveTo>
                  <a:cubicBezTo>
                    <a:pt x="100" y="64"/>
                    <a:pt x="100" y="64"/>
                    <a:pt x="100" y="64"/>
                  </a:cubicBezTo>
                  <a:cubicBezTo>
                    <a:pt x="89" y="59"/>
                    <a:pt x="83" y="49"/>
                    <a:pt x="83" y="38"/>
                  </a:cubicBezTo>
                  <a:cubicBezTo>
                    <a:pt x="83" y="22"/>
                    <a:pt x="95" y="9"/>
                    <a:pt x="111" y="9"/>
                  </a:cubicBezTo>
                  <a:cubicBezTo>
                    <a:pt x="126" y="9"/>
                    <a:pt x="139" y="22"/>
                    <a:pt x="139" y="38"/>
                  </a:cubicBezTo>
                  <a:cubicBezTo>
                    <a:pt x="139" y="48"/>
                    <a:pt x="133" y="58"/>
                    <a:pt x="123" y="63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28" y="49"/>
                    <a:pt x="130" y="44"/>
                    <a:pt x="130" y="40"/>
                  </a:cubicBezTo>
                  <a:cubicBezTo>
                    <a:pt x="130" y="39"/>
                    <a:pt x="130" y="39"/>
                    <a:pt x="130" y="39"/>
                  </a:cubicBezTo>
                  <a:cubicBezTo>
                    <a:pt x="130" y="33"/>
                    <a:pt x="125" y="27"/>
                    <a:pt x="118" y="27"/>
                  </a:cubicBezTo>
                  <a:cubicBezTo>
                    <a:pt x="106" y="27"/>
                    <a:pt x="106" y="27"/>
                    <a:pt x="106" y="27"/>
                  </a:cubicBezTo>
                  <a:cubicBezTo>
                    <a:pt x="99" y="27"/>
                    <a:pt x="94" y="33"/>
                    <a:pt x="94" y="39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44"/>
                    <a:pt x="96" y="48"/>
                    <a:pt x="100" y="50"/>
                  </a:cubicBezTo>
                  <a:close/>
                  <a:moveTo>
                    <a:pt x="111" y="290"/>
                  </a:moveTo>
                  <a:cubicBezTo>
                    <a:pt x="59" y="290"/>
                    <a:pt x="17" y="248"/>
                    <a:pt x="17" y="196"/>
                  </a:cubicBezTo>
                  <a:cubicBezTo>
                    <a:pt x="17" y="144"/>
                    <a:pt x="59" y="102"/>
                    <a:pt x="111" y="102"/>
                  </a:cubicBezTo>
                  <a:cubicBezTo>
                    <a:pt x="163" y="102"/>
                    <a:pt x="205" y="144"/>
                    <a:pt x="205" y="196"/>
                  </a:cubicBezTo>
                  <a:cubicBezTo>
                    <a:pt x="205" y="248"/>
                    <a:pt x="163" y="290"/>
                    <a:pt x="111" y="290"/>
                  </a:cubicBezTo>
                  <a:close/>
                  <a:moveTo>
                    <a:pt x="111" y="130"/>
                  </a:moveTo>
                  <a:cubicBezTo>
                    <a:pt x="115" y="130"/>
                    <a:pt x="118" y="127"/>
                    <a:pt x="118" y="123"/>
                  </a:cubicBezTo>
                  <a:cubicBezTo>
                    <a:pt x="118" y="117"/>
                    <a:pt x="118" y="117"/>
                    <a:pt x="118" y="117"/>
                  </a:cubicBezTo>
                  <a:cubicBezTo>
                    <a:pt x="118" y="113"/>
                    <a:pt x="115" y="110"/>
                    <a:pt x="111" y="110"/>
                  </a:cubicBezTo>
                  <a:cubicBezTo>
                    <a:pt x="107" y="110"/>
                    <a:pt x="104" y="113"/>
                    <a:pt x="104" y="117"/>
                  </a:cubicBezTo>
                  <a:cubicBezTo>
                    <a:pt x="104" y="123"/>
                    <a:pt x="104" y="123"/>
                    <a:pt x="104" y="123"/>
                  </a:cubicBezTo>
                  <a:cubicBezTo>
                    <a:pt x="104" y="127"/>
                    <a:pt x="107" y="130"/>
                    <a:pt x="111" y="130"/>
                  </a:cubicBezTo>
                  <a:close/>
                  <a:moveTo>
                    <a:pt x="37" y="189"/>
                  </a:moveTo>
                  <a:cubicBezTo>
                    <a:pt x="32" y="189"/>
                    <a:pt x="32" y="189"/>
                    <a:pt x="32" y="189"/>
                  </a:cubicBezTo>
                  <a:cubicBezTo>
                    <a:pt x="28" y="189"/>
                    <a:pt x="25" y="192"/>
                    <a:pt x="25" y="196"/>
                  </a:cubicBezTo>
                  <a:cubicBezTo>
                    <a:pt x="25" y="200"/>
                    <a:pt x="28" y="203"/>
                    <a:pt x="32" y="203"/>
                  </a:cubicBezTo>
                  <a:cubicBezTo>
                    <a:pt x="37" y="203"/>
                    <a:pt x="37" y="203"/>
                    <a:pt x="37" y="203"/>
                  </a:cubicBezTo>
                  <a:cubicBezTo>
                    <a:pt x="41" y="203"/>
                    <a:pt x="44" y="200"/>
                    <a:pt x="44" y="196"/>
                  </a:cubicBezTo>
                  <a:cubicBezTo>
                    <a:pt x="44" y="192"/>
                    <a:pt x="41" y="189"/>
                    <a:pt x="37" y="189"/>
                  </a:cubicBezTo>
                  <a:close/>
                  <a:moveTo>
                    <a:pt x="111" y="263"/>
                  </a:moveTo>
                  <a:cubicBezTo>
                    <a:pt x="107" y="263"/>
                    <a:pt x="104" y="266"/>
                    <a:pt x="104" y="270"/>
                  </a:cubicBezTo>
                  <a:cubicBezTo>
                    <a:pt x="104" y="275"/>
                    <a:pt x="104" y="275"/>
                    <a:pt x="104" y="275"/>
                  </a:cubicBezTo>
                  <a:cubicBezTo>
                    <a:pt x="104" y="279"/>
                    <a:pt x="107" y="282"/>
                    <a:pt x="111" y="282"/>
                  </a:cubicBezTo>
                  <a:cubicBezTo>
                    <a:pt x="115" y="282"/>
                    <a:pt x="118" y="279"/>
                    <a:pt x="118" y="275"/>
                  </a:cubicBezTo>
                  <a:cubicBezTo>
                    <a:pt x="118" y="270"/>
                    <a:pt x="118" y="270"/>
                    <a:pt x="118" y="270"/>
                  </a:cubicBezTo>
                  <a:cubicBezTo>
                    <a:pt x="118" y="266"/>
                    <a:pt x="115" y="263"/>
                    <a:pt x="111" y="263"/>
                  </a:cubicBezTo>
                  <a:close/>
                  <a:moveTo>
                    <a:pt x="190" y="189"/>
                  </a:moveTo>
                  <a:cubicBezTo>
                    <a:pt x="184" y="189"/>
                    <a:pt x="184" y="189"/>
                    <a:pt x="184" y="189"/>
                  </a:cubicBezTo>
                  <a:cubicBezTo>
                    <a:pt x="180" y="189"/>
                    <a:pt x="177" y="192"/>
                    <a:pt x="177" y="196"/>
                  </a:cubicBezTo>
                  <a:cubicBezTo>
                    <a:pt x="177" y="200"/>
                    <a:pt x="180" y="203"/>
                    <a:pt x="184" y="203"/>
                  </a:cubicBezTo>
                  <a:cubicBezTo>
                    <a:pt x="190" y="203"/>
                    <a:pt x="190" y="203"/>
                    <a:pt x="190" y="203"/>
                  </a:cubicBezTo>
                  <a:cubicBezTo>
                    <a:pt x="194" y="203"/>
                    <a:pt x="197" y="200"/>
                    <a:pt x="197" y="196"/>
                  </a:cubicBezTo>
                  <a:cubicBezTo>
                    <a:pt x="197" y="192"/>
                    <a:pt x="194" y="189"/>
                    <a:pt x="190" y="18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7618445" y="916808"/>
            <a:ext cx="588007" cy="588007"/>
            <a:chOff x="1712770" y="544883"/>
            <a:chExt cx="686975" cy="686975"/>
          </a:xfrm>
        </p:grpSpPr>
        <p:grpSp>
          <p:nvGrpSpPr>
            <p:cNvPr id="71" name="Group 81"/>
            <p:cNvGrpSpPr/>
            <p:nvPr/>
          </p:nvGrpSpPr>
          <p:grpSpPr>
            <a:xfrm>
              <a:off x="1712770" y="544883"/>
              <a:ext cx="686975" cy="686975"/>
              <a:chOff x="5459373" y="1506037"/>
              <a:chExt cx="2025229" cy="2025229"/>
            </a:xfrm>
          </p:grpSpPr>
          <p:sp>
            <p:nvSpPr>
              <p:cNvPr id="75" name="Rechteck 35"/>
              <p:cNvSpPr/>
              <p:nvPr/>
            </p:nvSpPr>
            <p:spPr>
              <a:xfrm>
                <a:off x="5459373" y="1506037"/>
                <a:ext cx="2025229" cy="202522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76" name="Group 75"/>
              <p:cNvGrpSpPr/>
              <p:nvPr/>
            </p:nvGrpSpPr>
            <p:grpSpPr>
              <a:xfrm>
                <a:off x="5796737" y="2425578"/>
                <a:ext cx="762570" cy="790356"/>
                <a:chOff x="5718059" y="2402786"/>
                <a:chExt cx="762570" cy="790356"/>
              </a:xfrm>
            </p:grpSpPr>
            <p:sp>
              <p:nvSpPr>
                <p:cNvPr id="80" name="Rounded Rectangle 79"/>
                <p:cNvSpPr/>
                <p:nvPr/>
              </p:nvSpPr>
              <p:spPr>
                <a:xfrm>
                  <a:off x="5791200" y="3053507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1" name="Rounded Rectangle 80"/>
                <p:cNvSpPr/>
                <p:nvPr/>
              </p:nvSpPr>
              <p:spPr>
                <a:xfrm>
                  <a:off x="5791200" y="2893672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2" name="Rounded Rectangle 81"/>
                <p:cNvSpPr/>
                <p:nvPr/>
              </p:nvSpPr>
              <p:spPr>
                <a:xfrm>
                  <a:off x="5791200" y="2733837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3" name="Rounded Rectangle 82"/>
                <p:cNvSpPr/>
                <p:nvPr/>
              </p:nvSpPr>
              <p:spPr>
                <a:xfrm>
                  <a:off x="5718059" y="2574002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4" name="Rounded Rectangle 83"/>
                <p:cNvSpPr/>
                <p:nvPr/>
              </p:nvSpPr>
              <p:spPr>
                <a:xfrm>
                  <a:off x="5718059" y="2402786"/>
                  <a:ext cx="689429" cy="139634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77" name="Group 76"/>
              <p:cNvGrpSpPr/>
              <p:nvPr/>
            </p:nvGrpSpPr>
            <p:grpSpPr>
              <a:xfrm>
                <a:off x="6589846" y="2943404"/>
                <a:ext cx="627421" cy="272536"/>
                <a:chOff x="5791200" y="2893672"/>
                <a:chExt cx="689429" cy="299470"/>
              </a:xfrm>
              <a:solidFill>
                <a:schemeClr val="accent4">
                  <a:lumMod val="60000"/>
                  <a:lumOff val="40000"/>
                </a:schemeClr>
              </a:solidFill>
            </p:grpSpPr>
            <p:sp>
              <p:nvSpPr>
                <p:cNvPr id="78" name="Rounded Rectangle 77"/>
                <p:cNvSpPr/>
                <p:nvPr/>
              </p:nvSpPr>
              <p:spPr>
                <a:xfrm>
                  <a:off x="5791200" y="3053507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9" name="Rounded Rectangle 78"/>
                <p:cNvSpPr/>
                <p:nvPr/>
              </p:nvSpPr>
              <p:spPr>
                <a:xfrm>
                  <a:off x="5791200" y="2893672"/>
                  <a:ext cx="689429" cy="13963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72" name="Group 14"/>
            <p:cNvGrpSpPr>
              <a:grpSpLocks noChangeAspect="1"/>
            </p:cNvGrpSpPr>
            <p:nvPr/>
          </p:nvGrpSpPr>
          <p:grpSpPr bwMode="auto">
            <a:xfrm rot="314402">
              <a:off x="1784371" y="597812"/>
              <a:ext cx="494370" cy="359820"/>
              <a:chOff x="3352" y="1802"/>
              <a:chExt cx="970" cy="706"/>
            </a:xfrm>
            <a:solidFill>
              <a:schemeClr val="bg1"/>
            </a:solidFill>
          </p:grpSpPr>
          <p:sp>
            <p:nvSpPr>
              <p:cNvPr id="73" name="Freeform 15"/>
              <p:cNvSpPr>
                <a:spLocks/>
              </p:cNvSpPr>
              <p:nvPr/>
            </p:nvSpPr>
            <p:spPr bwMode="auto">
              <a:xfrm>
                <a:off x="3352" y="1802"/>
                <a:ext cx="920" cy="667"/>
              </a:xfrm>
              <a:custGeom>
                <a:avLst/>
                <a:gdLst>
                  <a:gd name="T0" fmla="*/ 515 w 561"/>
                  <a:gd name="T1" fmla="*/ 406 h 406"/>
                  <a:gd name="T2" fmla="*/ 480 w 561"/>
                  <a:gd name="T3" fmla="*/ 386 h 406"/>
                  <a:gd name="T4" fmla="*/ 334 w 561"/>
                  <a:gd name="T5" fmla="*/ 133 h 406"/>
                  <a:gd name="T6" fmla="*/ 220 w 561"/>
                  <a:gd name="T7" fmla="*/ 192 h 406"/>
                  <a:gd name="T8" fmla="*/ 178 w 561"/>
                  <a:gd name="T9" fmla="*/ 189 h 406"/>
                  <a:gd name="T10" fmla="*/ 22 w 561"/>
                  <a:gd name="T11" fmla="*/ 77 h 406"/>
                  <a:gd name="T12" fmla="*/ 13 w 561"/>
                  <a:gd name="T13" fmla="*/ 22 h 406"/>
                  <a:gd name="T14" fmla="*/ 69 w 561"/>
                  <a:gd name="T15" fmla="*/ 12 h 406"/>
                  <a:gd name="T16" fmla="*/ 205 w 561"/>
                  <a:gd name="T17" fmla="*/ 110 h 406"/>
                  <a:gd name="T18" fmla="*/ 331 w 561"/>
                  <a:gd name="T19" fmla="*/ 45 h 406"/>
                  <a:gd name="T20" fmla="*/ 384 w 561"/>
                  <a:gd name="T21" fmla="*/ 60 h 406"/>
                  <a:gd name="T22" fmla="*/ 550 w 561"/>
                  <a:gd name="T23" fmla="*/ 346 h 406"/>
                  <a:gd name="T24" fmla="*/ 535 w 561"/>
                  <a:gd name="T25" fmla="*/ 401 h 406"/>
                  <a:gd name="T26" fmla="*/ 515 w 561"/>
                  <a:gd name="T27" fmla="*/ 406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61" h="406">
                    <a:moveTo>
                      <a:pt x="515" y="406"/>
                    </a:moveTo>
                    <a:cubicBezTo>
                      <a:pt x="501" y="406"/>
                      <a:pt x="488" y="399"/>
                      <a:pt x="480" y="386"/>
                    </a:cubicBezTo>
                    <a:cubicBezTo>
                      <a:pt x="334" y="133"/>
                      <a:pt x="334" y="133"/>
                      <a:pt x="334" y="133"/>
                    </a:cubicBezTo>
                    <a:cubicBezTo>
                      <a:pt x="220" y="192"/>
                      <a:pt x="220" y="192"/>
                      <a:pt x="220" y="192"/>
                    </a:cubicBezTo>
                    <a:cubicBezTo>
                      <a:pt x="207" y="199"/>
                      <a:pt x="190" y="198"/>
                      <a:pt x="178" y="189"/>
                    </a:cubicBezTo>
                    <a:cubicBezTo>
                      <a:pt x="22" y="77"/>
                      <a:pt x="22" y="77"/>
                      <a:pt x="22" y="77"/>
                    </a:cubicBezTo>
                    <a:cubicBezTo>
                      <a:pt x="4" y="65"/>
                      <a:pt x="0" y="40"/>
                      <a:pt x="13" y="22"/>
                    </a:cubicBezTo>
                    <a:cubicBezTo>
                      <a:pt x="26" y="4"/>
                      <a:pt x="51" y="0"/>
                      <a:pt x="69" y="12"/>
                    </a:cubicBezTo>
                    <a:cubicBezTo>
                      <a:pt x="205" y="110"/>
                      <a:pt x="205" y="110"/>
                      <a:pt x="205" y="110"/>
                    </a:cubicBezTo>
                    <a:cubicBezTo>
                      <a:pt x="331" y="45"/>
                      <a:pt x="331" y="45"/>
                      <a:pt x="331" y="45"/>
                    </a:cubicBezTo>
                    <a:cubicBezTo>
                      <a:pt x="350" y="35"/>
                      <a:pt x="373" y="42"/>
                      <a:pt x="384" y="60"/>
                    </a:cubicBezTo>
                    <a:cubicBezTo>
                      <a:pt x="550" y="346"/>
                      <a:pt x="550" y="346"/>
                      <a:pt x="550" y="346"/>
                    </a:cubicBezTo>
                    <a:cubicBezTo>
                      <a:pt x="561" y="365"/>
                      <a:pt x="554" y="390"/>
                      <a:pt x="535" y="401"/>
                    </a:cubicBezTo>
                    <a:cubicBezTo>
                      <a:pt x="529" y="405"/>
                      <a:pt x="522" y="406"/>
                      <a:pt x="515" y="4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16"/>
              <p:cNvSpPr>
                <a:spLocks/>
              </p:cNvSpPr>
              <p:nvPr/>
            </p:nvSpPr>
            <p:spPr bwMode="auto">
              <a:xfrm>
                <a:off x="3938" y="2134"/>
                <a:ext cx="384" cy="374"/>
              </a:xfrm>
              <a:custGeom>
                <a:avLst/>
                <a:gdLst>
                  <a:gd name="T0" fmla="*/ 0 w 384"/>
                  <a:gd name="T1" fmla="*/ 177 h 374"/>
                  <a:gd name="T2" fmla="*/ 243 w 384"/>
                  <a:gd name="T3" fmla="*/ 243 h 374"/>
                  <a:gd name="T4" fmla="*/ 308 w 384"/>
                  <a:gd name="T5" fmla="*/ 0 h 374"/>
                  <a:gd name="T6" fmla="*/ 384 w 384"/>
                  <a:gd name="T7" fmla="*/ 130 h 374"/>
                  <a:gd name="T8" fmla="*/ 320 w 384"/>
                  <a:gd name="T9" fmla="*/ 374 h 374"/>
                  <a:gd name="T10" fmla="*/ 75 w 384"/>
                  <a:gd name="T11" fmla="*/ 309 h 374"/>
                  <a:gd name="T12" fmla="*/ 0 w 384"/>
                  <a:gd name="T13" fmla="*/ 177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4" h="374">
                    <a:moveTo>
                      <a:pt x="0" y="177"/>
                    </a:moveTo>
                    <a:lnTo>
                      <a:pt x="243" y="243"/>
                    </a:lnTo>
                    <a:lnTo>
                      <a:pt x="308" y="0"/>
                    </a:lnTo>
                    <a:lnTo>
                      <a:pt x="384" y="130"/>
                    </a:lnTo>
                    <a:lnTo>
                      <a:pt x="320" y="374"/>
                    </a:lnTo>
                    <a:lnTo>
                      <a:pt x="75" y="309"/>
                    </a:lnTo>
                    <a:lnTo>
                      <a:pt x="0" y="1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367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5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75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42" presetClass="path" presetSubtype="0" fill="hold" nodeType="withEffect" p14:presetBounceEnd="26667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8.33333E-7 -1.60494E-6 L 0.13889 -0.00278 " pathEditMode="relative" rAng="0" ptsTypes="AA" p14:bounceEnd="26667">
                                          <p:cBhvr>
                                            <p:cTn id="11" dur="1000" spd="-100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944" y="-15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10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5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5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500"/>
                                            <p:tgtEl>
                                              <p:spTgt spid="6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0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1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75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42" presetClass="path" presetSubtype="0" fill="hold" nodeType="withEffect" p14:presetBounceEnd="26667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8.33333E-7 -1.60494E-6 L 0.13889 -0.00278 " pathEditMode="relative" rAng="0" ptsTypes="AA" p14:bounceEnd="26667">
                                          <p:cBhvr>
                                            <p:cTn id="27" dur="1000" spd="-1000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944" y="-15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32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4" dur="750" fill="hold"/>
                                            <p:tgtEl>
                                              <p:spTgt spid="8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5" dur="750" fill="hold"/>
                                            <p:tgtEl>
                                              <p:spTgt spid="8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6" dur="750"/>
                                            <p:tgtEl>
                                              <p:spTgt spid="8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42" presetClass="path" presetSubtype="0" fill="hold" nodeType="withEffect" p14:presetBounceEnd="26667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8.33333E-7 -1.60494E-6 L 0.13889 -0.00278 " pathEditMode="relative" rAng="0" ptsTypes="AA" p14:bounceEnd="26667">
                                          <p:cBhvr>
                                            <p:cTn id="38" dur="1000" spd="-100000" fill="hold"/>
                                            <p:tgtEl>
                                              <p:spTgt spid="8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944" y="-15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10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43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5" dur="750" fill="hold"/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6" dur="750" fill="hold"/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7" dur="750"/>
                                            <p:tgtEl>
                                              <p:spTgt spid="8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42" presetClass="path" presetSubtype="0" fill="hold" nodeType="withEffect" p14:presetBounceEnd="26667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8.33333E-7 -1.60494E-6 L 0.13889 -0.00278 " pathEditMode="relative" rAng="0" ptsTypes="AA" p14:bounceEnd="26667">
                                          <p:cBhvr>
                                            <p:cTn id="49" dur="1000" spd="-100000" fill="hold"/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944" y="-15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50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10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53" presetClass="entr" presetSubtype="16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5" dur="500" fill="hold"/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7" dur="500"/>
                                            <p:tgtEl>
                                              <p:spTgt spid="7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42" grpId="0"/>
          <p:bldP spid="43" grpId="0"/>
          <p:bldP spid="44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5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75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42" presetClass="pat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8.33333E-7 -1.60494E-6 L 0.13889 -0.00278 " pathEditMode="relative" rAng="0" ptsTypes="AA">
                                          <p:cBhvr>
                                            <p:cTn id="11" dur="1000" spd="-100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944" y="-15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10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5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5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500"/>
                                            <p:tgtEl>
                                              <p:spTgt spid="6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0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1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75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42" presetClass="pat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8.33333E-7 -1.60494E-6 L 0.13889 -0.00278 " pathEditMode="relative" rAng="0" ptsTypes="AA">
                                          <p:cBhvr>
                                            <p:cTn id="27" dur="1000" spd="-1000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944" y="-15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32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4" dur="750" fill="hold"/>
                                            <p:tgtEl>
                                              <p:spTgt spid="8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5" dur="750" fill="hold"/>
                                            <p:tgtEl>
                                              <p:spTgt spid="8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6" dur="750"/>
                                            <p:tgtEl>
                                              <p:spTgt spid="8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42" presetClass="pat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8.33333E-7 -1.60494E-6 L 0.13889 -0.00278 " pathEditMode="relative" rAng="0" ptsTypes="AA">
                                          <p:cBhvr>
                                            <p:cTn id="38" dur="1000" spd="-100000" fill="hold"/>
                                            <p:tgtEl>
                                              <p:spTgt spid="8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944" y="-15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9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1" dur="10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2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43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5" dur="750" fill="hold"/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6" dur="750" fill="hold"/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7" dur="750"/>
                                            <p:tgtEl>
                                              <p:spTgt spid="8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8" presetID="42" presetClass="pat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8.33333E-7 -1.60494E-6 L 0.13889 -0.00278 " pathEditMode="relative" rAng="0" ptsTypes="AA">
                                          <p:cBhvr>
                                            <p:cTn id="49" dur="1000" spd="-100000" fill="hold"/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944" y="-15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50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10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53" presetClass="entr" presetSubtype="16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5" dur="500" fill="hold"/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7" dur="500"/>
                                            <p:tgtEl>
                                              <p:spTgt spid="7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/>
          <p:bldP spid="42" grpId="0"/>
          <p:bldP spid="43" grpId="0"/>
          <p:bldP spid="44" grpId="0"/>
        </p:bldLst>
      </p:timing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779468" y="825284"/>
            <a:ext cx="4604124" cy="3175004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20-30% lower consumption of whites and overprint varnish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Finer </a:t>
            </a:r>
            <a:r>
              <a:rPr lang="en-GB" sz="1503" dirty="0" err="1">
                <a:solidFill>
                  <a:srgbClr val="5B5B5B"/>
                </a:solidFill>
                <a:latin typeface="Arial"/>
                <a:cs typeface="Arial"/>
              </a:rPr>
              <a:t>anilox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 </a:t>
            </a:r>
            <a:r>
              <a:rPr lang="en-GB" sz="1503" dirty="0" smtClean="0">
                <a:solidFill>
                  <a:srgbClr val="5B5B5B"/>
                </a:solidFill>
                <a:latin typeface="Arial"/>
                <a:cs typeface="Arial"/>
              </a:rPr>
              <a:t>rollers</a:t>
            </a:r>
            <a:r>
              <a:rPr lang="hr-HR" sz="1503" dirty="0" smtClean="0">
                <a:solidFill>
                  <a:srgbClr val="5B5B5B"/>
                </a:solidFill>
                <a:latin typeface="Arial"/>
                <a:cs typeface="Arial"/>
              </a:rPr>
              <a:t> </a:t>
            </a:r>
            <a:r>
              <a:rPr lang="hr-HR" sz="1503" dirty="0" err="1" smtClean="0">
                <a:solidFill>
                  <a:srgbClr val="5B5B5B"/>
                </a:solidFill>
                <a:latin typeface="Arial"/>
                <a:cs typeface="Arial"/>
              </a:rPr>
              <a:t>with</a:t>
            </a:r>
            <a:r>
              <a:rPr lang="hr-HR" sz="1503" dirty="0" smtClean="0">
                <a:solidFill>
                  <a:srgbClr val="5B5B5B"/>
                </a:solidFill>
                <a:latin typeface="Arial"/>
                <a:cs typeface="Arial"/>
              </a:rPr>
              <a:t> WB for </a:t>
            </a:r>
            <a:r>
              <a:rPr lang="hr-HR" sz="1503" dirty="0" err="1" smtClean="0">
                <a:solidFill>
                  <a:srgbClr val="5B5B5B"/>
                </a:solidFill>
                <a:latin typeface="Arial"/>
                <a:cs typeface="Arial"/>
              </a:rPr>
              <a:t>lower</a:t>
            </a:r>
            <a:r>
              <a:rPr lang="hr-HR" sz="1503" dirty="0" smtClean="0">
                <a:solidFill>
                  <a:srgbClr val="5B5B5B"/>
                </a:solidFill>
                <a:latin typeface="Arial"/>
                <a:cs typeface="Arial"/>
              </a:rPr>
              <a:t> transfer/</a:t>
            </a:r>
            <a:r>
              <a:rPr lang="hr-HR" sz="1503" dirty="0" err="1" smtClean="0">
                <a:solidFill>
                  <a:srgbClr val="5B5B5B"/>
                </a:solidFill>
                <a:latin typeface="Arial"/>
                <a:cs typeface="Arial"/>
              </a:rPr>
              <a:t>cost</a:t>
            </a:r>
            <a:r>
              <a:rPr lang="hr-HR" sz="1503" dirty="0" smtClean="0">
                <a:solidFill>
                  <a:srgbClr val="5B5B5B"/>
                </a:solidFill>
                <a:latin typeface="Arial"/>
                <a:cs typeface="Arial"/>
              </a:rPr>
              <a:t> </a:t>
            </a:r>
            <a:r>
              <a:rPr lang="hr-HR" sz="1503" dirty="0" err="1" smtClean="0">
                <a:solidFill>
                  <a:srgbClr val="5B5B5B"/>
                </a:solidFill>
                <a:latin typeface="Arial"/>
                <a:cs typeface="Arial"/>
              </a:rPr>
              <a:t>effective</a:t>
            </a: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Stronger coloured bases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+100% TV in finished inks)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No need of let-down solvent (~30% of SB ink volume)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Replace by ~5% of let-down water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No need of “viscosity” solvent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ift of ink material structure and cost</a:t>
            </a:r>
          </a:p>
        </p:txBody>
      </p:sp>
      <p:cxnSp>
        <p:nvCxnSpPr>
          <p:cNvPr id="17" name="Connecteur droit 16"/>
          <p:cNvCxnSpPr/>
          <p:nvPr/>
        </p:nvCxnSpPr>
        <p:spPr bwMode="auto">
          <a:xfrm>
            <a:off x="6833882" y="1905109"/>
            <a:ext cx="458035" cy="0"/>
          </a:xfrm>
          <a:prstGeom prst="line">
            <a:avLst/>
          </a:prstGeom>
          <a:solidFill>
            <a:srgbClr val="0B7CC1"/>
          </a:solidFill>
          <a:ln w="34925" cap="flat" cmpd="sng" algn="ctr">
            <a:solidFill>
              <a:srgbClr val="000000">
                <a:lumMod val="50000"/>
                <a:lumOff val="50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Connecteur droit 17"/>
          <p:cNvCxnSpPr/>
          <p:nvPr/>
        </p:nvCxnSpPr>
        <p:spPr bwMode="auto">
          <a:xfrm>
            <a:off x="6776628" y="2592162"/>
            <a:ext cx="515289" cy="801561"/>
          </a:xfrm>
          <a:prstGeom prst="line">
            <a:avLst/>
          </a:prstGeom>
          <a:solidFill>
            <a:srgbClr val="0B7CC1"/>
          </a:solidFill>
          <a:ln w="34925" cap="flat" cmpd="sng" algn="ctr">
            <a:solidFill>
              <a:srgbClr val="000000">
                <a:lumMod val="50000"/>
                <a:lumOff val="50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/>
        </p:nvSpPr>
        <p:spPr bwMode="auto">
          <a:xfrm>
            <a:off x="5574286" y="2649416"/>
            <a:ext cx="1259596" cy="1889394"/>
          </a:xfrm>
          <a:prstGeom prst="rect">
            <a:avLst/>
          </a:prstGeom>
          <a:gradFill flip="none" rotWithShape="1">
            <a:gsLst>
              <a:gs pos="7000">
                <a:srgbClr val="0070C0"/>
              </a:gs>
              <a:gs pos="50000">
                <a:srgbClr val="0B7CC1">
                  <a:lumMod val="40000"/>
                  <a:lumOff val="60000"/>
                </a:srgbClr>
              </a:gs>
              <a:gs pos="93000">
                <a:srgbClr val="0070C0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8705" tIns="34353" rIns="68705" bIns="34353" numCol="1" rtlCol="0" anchor="ctr" anchorCtr="0" compatLnSpc="1">
            <a:prstTxWarp prst="textNoShape">
              <a:avLst/>
            </a:prstTxWarp>
          </a:bodyPr>
          <a:lstStyle/>
          <a:p>
            <a:pPr algn="ctr" defTabSz="687080" eaLnBrk="0" fontAlgn="base" hangingPunct="0">
              <a:lnSpc>
                <a:spcPts val="17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53" b="1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ＭＳ Ｐゴシック" pitchFamily="48" charset="-128"/>
              </a:rPr>
              <a:t>Coloured base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5574286" y="1905109"/>
            <a:ext cx="1259596" cy="744307"/>
          </a:xfrm>
          <a:prstGeom prst="rect">
            <a:avLst/>
          </a:prstGeom>
          <a:gradFill>
            <a:gsLst>
              <a:gs pos="7000">
                <a:srgbClr val="DAA600"/>
              </a:gs>
              <a:gs pos="50000">
                <a:srgbClr val="F7911D">
                  <a:lumMod val="40000"/>
                  <a:lumOff val="60000"/>
                </a:srgbClr>
              </a:gs>
              <a:gs pos="93000">
                <a:srgbClr val="E08319">
                  <a:lumMod val="75000"/>
                </a:srgbClr>
              </a:gs>
            </a:gsLst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8705" tIns="34353" rIns="68705" bIns="34353" numCol="1" rtlCol="0" anchor="ctr" anchorCtr="0" compatLnSpc="1">
            <a:prstTxWarp prst="textNoShape">
              <a:avLst/>
            </a:prstTxWarp>
          </a:bodyPr>
          <a:lstStyle/>
          <a:p>
            <a:pPr algn="ctr" defTabSz="687080" eaLnBrk="0" fontAlgn="base" hangingPunct="0">
              <a:lnSpc>
                <a:spcPts val="17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53" b="1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ＭＳ Ｐゴシック" pitchFamily="48" charset="-128"/>
              </a:rPr>
              <a:t>Technology varnish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5574286" y="1103548"/>
            <a:ext cx="1259596" cy="801561"/>
          </a:xfrm>
          <a:prstGeom prst="rect">
            <a:avLst/>
          </a:prstGeom>
          <a:gradFill>
            <a:gsLst>
              <a:gs pos="7000">
                <a:srgbClr val="6EA92D"/>
              </a:gs>
              <a:gs pos="50000">
                <a:srgbClr val="92D050"/>
              </a:gs>
              <a:gs pos="93000">
                <a:srgbClr val="619428"/>
              </a:gs>
            </a:gsLst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8705" tIns="34353" rIns="68705" bIns="34353" numCol="1" rtlCol="0" anchor="ctr" anchorCtr="0" compatLnSpc="1">
            <a:prstTxWarp prst="textNoShape">
              <a:avLst/>
            </a:prstTxWarp>
          </a:bodyPr>
          <a:lstStyle/>
          <a:p>
            <a:pPr algn="ctr" defTabSz="687080" eaLnBrk="0" fontAlgn="base" hangingPunct="0">
              <a:lnSpc>
                <a:spcPts val="1728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653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ＭＳ Ｐゴシック" pitchFamily="48" charset="-128"/>
              </a:rPr>
              <a:t>Solvent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7291917" y="3393723"/>
            <a:ext cx="1259596" cy="1145087"/>
          </a:xfrm>
          <a:prstGeom prst="rect">
            <a:avLst/>
          </a:prstGeom>
          <a:gradFill>
            <a:gsLst>
              <a:gs pos="7000">
                <a:srgbClr val="0070C0"/>
              </a:gs>
              <a:gs pos="50000">
                <a:srgbClr val="0B7CC1">
                  <a:lumMod val="40000"/>
                  <a:lumOff val="60000"/>
                </a:srgbClr>
              </a:gs>
              <a:gs pos="93000">
                <a:srgbClr val="0070C0"/>
              </a:gs>
            </a:gsLst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8705" tIns="34353" rIns="68705" bIns="34353" numCol="1" rtlCol="0" anchor="ctr" anchorCtr="0" compatLnSpc="1">
            <a:prstTxWarp prst="textNoShape">
              <a:avLst/>
            </a:prstTxWarp>
          </a:bodyPr>
          <a:lstStyle/>
          <a:p>
            <a:pPr algn="ctr" defTabSz="687080" eaLnBrk="0" fontAlgn="base" hangingPunct="0">
              <a:lnSpc>
                <a:spcPts val="17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53" b="1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ＭＳ Ｐゴシック" pitchFamily="48" charset="-128"/>
              </a:rPr>
              <a:t>Coloured base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7291917" y="1905109"/>
            <a:ext cx="1259596" cy="1488614"/>
          </a:xfrm>
          <a:prstGeom prst="rect">
            <a:avLst/>
          </a:prstGeom>
          <a:gradFill>
            <a:gsLst>
              <a:gs pos="7000">
                <a:srgbClr val="DAA600"/>
              </a:gs>
              <a:gs pos="50000">
                <a:srgbClr val="F7911D">
                  <a:lumMod val="40000"/>
                  <a:lumOff val="60000"/>
                </a:srgbClr>
              </a:gs>
              <a:gs pos="93000">
                <a:srgbClr val="E08319">
                  <a:lumMod val="75000"/>
                </a:srgbClr>
              </a:gs>
            </a:gsLst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8705" tIns="34353" rIns="68705" bIns="34353" numCol="1" rtlCol="0" anchor="ctr" anchorCtr="0" compatLnSpc="1">
            <a:prstTxWarp prst="textNoShape">
              <a:avLst/>
            </a:prstTxWarp>
          </a:bodyPr>
          <a:lstStyle/>
          <a:p>
            <a:pPr algn="ctr" defTabSz="687080" eaLnBrk="0" fontAlgn="base" hangingPunct="0">
              <a:lnSpc>
                <a:spcPts val="17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53" b="1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ＭＳ Ｐゴシック" pitchFamily="48" charset="-128"/>
              </a:rPr>
              <a:t>Technology varnish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7291917" y="1733346"/>
            <a:ext cx="1259596" cy="171763"/>
          </a:xfrm>
          <a:prstGeom prst="rect">
            <a:avLst/>
          </a:prstGeom>
          <a:gradFill>
            <a:gsLst>
              <a:gs pos="7000">
                <a:srgbClr val="6EA92D"/>
              </a:gs>
              <a:gs pos="50000">
                <a:srgbClr val="92D050"/>
              </a:gs>
              <a:gs pos="93000">
                <a:srgbClr val="619428"/>
              </a:gs>
            </a:gsLst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8705" tIns="34353" rIns="68705" bIns="34353" numCol="1" rtlCol="0" anchor="ctr" anchorCtr="0" compatLnSpc="1">
            <a:prstTxWarp prst="textNoShape">
              <a:avLst/>
            </a:prstTxWarp>
          </a:bodyPr>
          <a:lstStyle/>
          <a:p>
            <a:pPr algn="ctr" defTabSz="6870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53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ＭＳ Ｐゴシック" pitchFamily="48" charset="-128"/>
              </a:rPr>
              <a:t>Water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5574286" y="760022"/>
            <a:ext cx="1259596" cy="28627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705" tIns="34353" rIns="68705" bIns="34353" numCol="1" rtlCol="0" anchor="ctr" anchorCtr="0" compatLnSpc="1">
            <a:prstTxWarp prst="textNoShape">
              <a:avLst/>
            </a:prstTxWarp>
          </a:bodyPr>
          <a:lstStyle/>
          <a:p>
            <a:pPr algn="ctr" defTabSz="68708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104" b="1" kern="0" dirty="0">
                <a:solidFill>
                  <a:srgbClr val="000000">
                    <a:lumMod val="50000"/>
                    <a:lumOff val="50000"/>
                  </a:srgbClr>
                </a:solidFill>
                <a:ea typeface="ＭＳ Ｐゴシック" pitchFamily="48" charset="-128"/>
              </a:rPr>
              <a:t>SB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7291917" y="1389820"/>
            <a:ext cx="1263101" cy="28627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705" tIns="34353" rIns="68705" bIns="34353" numCol="1" rtlCol="0" anchor="ctr" anchorCtr="0" compatLnSpc="1">
            <a:prstTxWarp prst="textNoShape">
              <a:avLst/>
            </a:prstTxWarp>
          </a:bodyPr>
          <a:lstStyle/>
          <a:p>
            <a:pPr algn="ctr" defTabSz="68708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104" b="1" kern="0" dirty="0">
                <a:solidFill>
                  <a:srgbClr val="000000">
                    <a:lumMod val="50000"/>
                    <a:lumOff val="50000"/>
                  </a:srgbClr>
                </a:solidFill>
                <a:ea typeface="ＭＳ Ｐゴシック" pitchFamily="48" charset="-128"/>
              </a:rPr>
              <a:t>WB</a:t>
            </a:r>
          </a:p>
        </p:txBody>
      </p:sp>
    </p:spTree>
    <p:extLst>
      <p:ext uri="{BB962C8B-B14F-4D97-AF65-F5344CB8AC3E}">
        <p14:creationId xmlns:p14="http://schemas.microsoft.com/office/powerpoint/2010/main" val="195247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779467" y="825284"/>
            <a:ext cx="8000149" cy="2712442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Dispersed resin is insoluble in water at all pH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There is in principle no resolubility of ink into itself once dispersed resins starts to coalesce (resin micelles fuse together)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This fundamental effect drives every aspect of printing WB inks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Film forming mechanism of WB inks: coalescence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Entirely new mechanism / solvent-based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Coalescence is slow: full properties take 48-72 </a:t>
            </a:r>
            <a:r>
              <a:rPr lang="en-GB" sz="1503" dirty="0" err="1">
                <a:solidFill>
                  <a:srgbClr val="5B5B5B"/>
                </a:solidFill>
                <a:latin typeface="Arial"/>
                <a:cs typeface="Arial"/>
              </a:rPr>
              <a:t>hrs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 to develop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Sun Chemical inks generally have key advantage with properties at t=0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ndamental difference between SB and WB inks: film-forming stage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2372857" y="3266214"/>
            <a:ext cx="4449574" cy="1882717"/>
            <a:chOff x="3158041" y="4344531"/>
            <a:chExt cx="5921951" cy="2505713"/>
          </a:xfrm>
        </p:grpSpPr>
        <p:pic>
          <p:nvPicPr>
            <p:cNvPr id="6" name="Picture 2" descr="http://www.pcimag.com/PCI/2002/10/Files/Images/74326.gif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8041" y="4344531"/>
              <a:ext cx="4276868" cy="2412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ZoneTexte 6"/>
            <p:cNvSpPr txBox="1"/>
            <p:nvPr/>
          </p:nvSpPr>
          <p:spPr>
            <a:xfrm>
              <a:off x="7430681" y="4714353"/>
              <a:ext cx="1374990" cy="3999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GB" sz="1353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Drying</a:t>
              </a: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7434232" y="5783474"/>
              <a:ext cx="1645760" cy="3999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GB" sz="1353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Coalescence</a:t>
              </a:r>
            </a:p>
          </p:txBody>
        </p:sp>
        <p:sp>
          <p:nvSpPr>
            <p:cNvPr id="2" name="ZoneTexte 1"/>
            <p:cNvSpPr txBox="1"/>
            <p:nvPr/>
          </p:nvSpPr>
          <p:spPr>
            <a:xfrm>
              <a:off x="3276497" y="5238807"/>
              <a:ext cx="1544209" cy="23058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sz="526" b="1" dirty="0"/>
                <a:t>Acrylic dispersion in water</a:t>
              </a: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5508807" y="5238805"/>
              <a:ext cx="1544209" cy="46423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ts val="526"/>
                </a:lnSpc>
              </a:pPr>
              <a:r>
                <a:rPr lang="en-GB" sz="526" b="1" dirty="0"/>
                <a:t>Stage 1</a:t>
              </a:r>
            </a:p>
            <a:p>
              <a:pPr>
                <a:lnSpc>
                  <a:spcPts val="526"/>
                </a:lnSpc>
              </a:pPr>
              <a:r>
                <a:rPr lang="en-GB" sz="526" b="1" dirty="0"/>
                <a:t>Water evaporates, particles get into close contact, start to pack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3348507" y="6309813"/>
              <a:ext cx="1544209" cy="46423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ts val="526"/>
                </a:lnSpc>
              </a:pPr>
              <a:r>
                <a:rPr lang="en-GB" sz="526" b="1" dirty="0"/>
                <a:t>Stage 2</a:t>
              </a:r>
            </a:p>
            <a:p>
              <a:pPr>
                <a:lnSpc>
                  <a:spcPts val="526"/>
                </a:lnSpc>
              </a:pPr>
              <a:r>
                <a:rPr lang="en-GB" sz="526" b="1" dirty="0"/>
                <a:t>Particles deform</a:t>
              </a:r>
            </a:p>
            <a:p>
              <a:pPr>
                <a:lnSpc>
                  <a:spcPts val="526"/>
                </a:lnSpc>
              </a:pPr>
              <a:r>
                <a:rPr lang="en-GB" sz="526" b="1" dirty="0"/>
                <a:t>Particles are packing</a:t>
              </a:r>
            </a:p>
            <a:p>
              <a:pPr>
                <a:lnSpc>
                  <a:spcPts val="526"/>
                </a:lnSpc>
              </a:pPr>
              <a:endParaRPr lang="en-GB" sz="526" b="1" dirty="0"/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5508807" y="6300669"/>
              <a:ext cx="1871086" cy="54957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ts val="526"/>
                </a:lnSpc>
              </a:pPr>
              <a:r>
                <a:rPr lang="en-GB" sz="526" b="1" dirty="0"/>
                <a:t>Stage 3</a:t>
              </a:r>
            </a:p>
            <a:p>
              <a:pPr>
                <a:lnSpc>
                  <a:spcPts val="526"/>
                </a:lnSpc>
              </a:pPr>
              <a:r>
                <a:rPr lang="en-GB" sz="526" b="1" dirty="0"/>
                <a:t>Coalescence, polymer chains entangle and particle boundaries disappear</a:t>
              </a:r>
            </a:p>
            <a:p>
              <a:pPr>
                <a:lnSpc>
                  <a:spcPts val="526"/>
                </a:lnSpc>
              </a:pPr>
              <a:endParaRPr lang="en-GB" sz="526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28388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779467" y="825283"/>
            <a:ext cx="8000149" cy="3637117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Accurate cost-in-use comparison is not easily available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WB inks are 20-35% more cost efficient than SB inks (inks + solvent)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 err="1">
                <a:solidFill>
                  <a:srgbClr val="5B5B5B"/>
                </a:solidFill>
                <a:latin typeface="Arial"/>
                <a:cs typeface="Arial"/>
              </a:rPr>
              <a:t>Approx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 -20% for large plants using ~250 tons of inks per annum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 err="1">
                <a:solidFill>
                  <a:srgbClr val="5B5B5B"/>
                </a:solidFill>
                <a:latin typeface="Arial"/>
                <a:cs typeface="Arial"/>
              </a:rPr>
              <a:t>Approx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 -25% for small plants using ~40 tons of inks per annum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Main differences are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WB inks require more energy for drying (no auto feed from solvent) – but no incineration! 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WB inks have higher waste treatment cost 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WB inks are cheaper per m²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 matters</a:t>
            </a:r>
          </a:p>
        </p:txBody>
      </p:sp>
    </p:spTree>
    <p:extLst>
      <p:ext uri="{BB962C8B-B14F-4D97-AF65-F5344CB8AC3E}">
        <p14:creationId xmlns:p14="http://schemas.microsoft.com/office/powerpoint/2010/main" val="134781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project that impacts the whole company</a:t>
            </a:r>
          </a:p>
        </p:txBody>
      </p:sp>
      <p:grpSp>
        <p:nvGrpSpPr>
          <p:cNvPr id="2" name="Groupe 1"/>
          <p:cNvGrpSpPr/>
          <p:nvPr/>
        </p:nvGrpSpPr>
        <p:grpSpPr>
          <a:xfrm>
            <a:off x="1887104" y="1082826"/>
            <a:ext cx="5333817" cy="3435262"/>
            <a:chOff x="2511551" y="1438656"/>
            <a:chExt cx="7098792" cy="4572000"/>
          </a:xfrm>
        </p:grpSpPr>
        <p:sp>
          <p:nvSpPr>
            <p:cNvPr id="10" name="_s1028"/>
            <p:cNvSpPr>
              <a:spLocks noChangeAspect="1" noChangeArrowheads="1" noTextEdit="1"/>
            </p:cNvSpPr>
            <p:nvPr/>
          </p:nvSpPr>
          <p:spPr bwMode="auto">
            <a:xfrm>
              <a:off x="4114380" y="1438656"/>
              <a:ext cx="3849926" cy="2610460"/>
            </a:xfrm>
            <a:prstGeom prst="ellipse">
              <a:avLst/>
            </a:prstGeom>
            <a:solidFill>
              <a:srgbClr val="DAA600">
                <a:alpha val="75000"/>
              </a:srgbClr>
            </a:solidFill>
            <a:ln w="57150">
              <a:noFill/>
              <a:round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353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Investments Running costs</a:t>
              </a:r>
            </a:p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353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Productivity</a:t>
              </a:r>
            </a:p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353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Impact on sales</a:t>
              </a:r>
            </a:p>
          </p:txBody>
        </p:sp>
        <p:sp>
          <p:nvSpPr>
            <p:cNvPr id="11" name="_s1028"/>
            <p:cNvSpPr>
              <a:spLocks noChangeAspect="1" noChangeArrowheads="1" noTextEdit="1"/>
            </p:cNvSpPr>
            <p:nvPr/>
          </p:nvSpPr>
          <p:spPr bwMode="auto">
            <a:xfrm>
              <a:off x="5760417" y="3400196"/>
              <a:ext cx="3849926" cy="2610460"/>
            </a:xfrm>
            <a:prstGeom prst="ellipse">
              <a:avLst/>
            </a:prstGeom>
            <a:solidFill>
              <a:srgbClr val="B80000">
                <a:alpha val="74902"/>
              </a:srgbClr>
            </a:solidFill>
            <a:ln w="57150">
              <a:noFill/>
              <a:round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353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Rules</a:t>
              </a:r>
            </a:p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353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Quality</a:t>
              </a:r>
            </a:p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353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Performance</a:t>
              </a:r>
            </a:p>
          </p:txBody>
        </p:sp>
        <p:sp>
          <p:nvSpPr>
            <p:cNvPr id="13" name="_s1028"/>
            <p:cNvSpPr>
              <a:spLocks noChangeAspect="1" noChangeArrowheads="1" noTextEdit="1"/>
            </p:cNvSpPr>
            <p:nvPr/>
          </p:nvSpPr>
          <p:spPr bwMode="auto">
            <a:xfrm>
              <a:off x="2511551" y="3400196"/>
              <a:ext cx="3849926" cy="2610460"/>
            </a:xfrm>
            <a:prstGeom prst="ellipse">
              <a:avLst/>
            </a:prstGeom>
            <a:solidFill>
              <a:srgbClr val="00B0F0">
                <a:alpha val="75000"/>
              </a:srgbClr>
            </a:solidFill>
            <a:ln w="57150">
              <a:noFill/>
              <a:round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353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Health / safety</a:t>
              </a:r>
            </a:p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353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Workers motivation</a:t>
              </a:r>
            </a:p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353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Image</a:t>
              </a:r>
            </a:p>
          </p:txBody>
        </p:sp>
        <p:sp>
          <p:nvSpPr>
            <p:cNvPr id="7" name="_s1029"/>
            <p:cNvSpPr>
              <a:spLocks noChangeArrowheads="1"/>
            </p:cNvSpPr>
            <p:nvPr/>
          </p:nvSpPr>
          <p:spPr bwMode="auto">
            <a:xfrm>
              <a:off x="4952003" y="1667256"/>
              <a:ext cx="2174680" cy="361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2404" b="1" dirty="0">
                  <a:solidFill>
                    <a:schemeClr val="accent4">
                      <a:lumMod val="50000"/>
                    </a:schemeClr>
                  </a:solidFill>
                  <a:latin typeface="Arial Black" panose="020B0A04020102020204" pitchFamily="34" charset="0"/>
                  <a:ea typeface="ＭＳ Ｐゴシック" pitchFamily="-112" charset="-128"/>
                </a:rPr>
                <a:t>Business</a:t>
              </a:r>
            </a:p>
          </p:txBody>
        </p:sp>
        <p:sp>
          <p:nvSpPr>
            <p:cNvPr id="8" name="_s1031"/>
            <p:cNvSpPr>
              <a:spLocks noChangeArrowheads="1"/>
            </p:cNvSpPr>
            <p:nvPr/>
          </p:nvSpPr>
          <p:spPr bwMode="auto">
            <a:xfrm>
              <a:off x="6598040" y="5420158"/>
              <a:ext cx="2174680" cy="361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2404" b="1" dirty="0">
                  <a:solidFill>
                    <a:schemeClr val="accent1">
                      <a:lumMod val="50000"/>
                    </a:schemeClr>
                  </a:solidFill>
                  <a:latin typeface="Arial Black" panose="020B0A04020102020204" pitchFamily="34" charset="0"/>
                  <a:ea typeface="ＭＳ Ｐゴシック" pitchFamily="-112" charset="-128"/>
                </a:rPr>
                <a:t>Technical</a:t>
              </a:r>
            </a:p>
          </p:txBody>
        </p:sp>
        <p:sp>
          <p:nvSpPr>
            <p:cNvPr id="9" name="_s1033"/>
            <p:cNvSpPr>
              <a:spLocks noChangeArrowheads="1"/>
            </p:cNvSpPr>
            <p:nvPr/>
          </p:nvSpPr>
          <p:spPr bwMode="auto">
            <a:xfrm>
              <a:off x="3349174" y="5420158"/>
              <a:ext cx="2174680" cy="361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 defTabSz="68708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2404" b="1" dirty="0">
                  <a:solidFill>
                    <a:srgbClr val="0070C0"/>
                  </a:solidFill>
                  <a:latin typeface="Arial Black" panose="020B0A04020102020204" pitchFamily="34" charset="0"/>
                  <a:ea typeface="ＭＳ Ｐゴシック" pitchFamily="-112" charset="-128"/>
                </a:rPr>
                <a:t>Hum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1918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779468" y="1141328"/>
            <a:ext cx="4394038" cy="2496870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2404" b="1" dirty="0">
                <a:solidFill>
                  <a:srgbClr val="EA1D20"/>
                </a:solidFill>
                <a:latin typeface="Arial"/>
                <a:ea typeface="+mj-ea"/>
                <a:cs typeface="Arial"/>
              </a:rPr>
              <a:t>Facing resistance</a:t>
            </a:r>
            <a:br>
              <a:rPr lang="en-GB" sz="2404" b="1" dirty="0">
                <a:solidFill>
                  <a:srgbClr val="EA1D20"/>
                </a:solidFill>
                <a:latin typeface="Arial"/>
                <a:ea typeface="+mj-ea"/>
                <a:cs typeface="Arial"/>
              </a:rPr>
            </a:br>
            <a:r>
              <a:rPr lang="en-GB" sz="2404" b="1" dirty="0">
                <a:solidFill>
                  <a:srgbClr val="EA1D20"/>
                </a:solidFill>
                <a:latin typeface="Arial"/>
                <a:ea typeface="+mj-ea"/>
                <a:cs typeface="Arial"/>
              </a:rPr>
              <a:t>to changing</a:t>
            </a:r>
            <a:br>
              <a:rPr lang="en-GB" sz="2404" b="1" dirty="0">
                <a:solidFill>
                  <a:srgbClr val="EA1D20"/>
                </a:solidFill>
                <a:latin typeface="Arial"/>
                <a:ea typeface="+mj-ea"/>
                <a:cs typeface="Arial"/>
              </a:rPr>
            </a:br>
            <a:r>
              <a:rPr lang="en-GB" sz="2404" b="1" dirty="0">
                <a:solidFill>
                  <a:srgbClr val="EA1D20"/>
                </a:solidFill>
                <a:latin typeface="Arial"/>
                <a:ea typeface="+mj-ea"/>
                <a:cs typeface="Arial"/>
              </a:rPr>
              <a:t>work habits.</a:t>
            </a:r>
            <a:r>
              <a:rPr lang="en-GB" sz="2404" b="1" dirty="0">
                <a:solidFill>
                  <a:srgbClr val="F12328"/>
                </a:solidFill>
                <a:latin typeface="Arial"/>
                <a:cs typeface="Arial"/>
              </a:rPr>
              <a:t/>
            </a:r>
            <a:br>
              <a:rPr lang="en-GB" sz="2404" b="1" dirty="0">
                <a:solidFill>
                  <a:srgbClr val="F12328"/>
                </a:solidFill>
                <a:latin typeface="Arial"/>
                <a:cs typeface="Arial"/>
              </a:rPr>
            </a:br>
            <a:endParaRPr lang="en-GB" sz="2404" b="1" dirty="0">
              <a:solidFill>
                <a:srgbClr val="F12328"/>
              </a:solidFill>
              <a:latin typeface="Arial"/>
              <a:cs typeface="Arial"/>
            </a:endParaRP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Requires: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Strong leadership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Motivation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rst of all, moving to WB means…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9518"/>
          <a:stretch/>
        </p:blipFill>
        <p:spPr bwMode="auto">
          <a:xfrm flipH="1">
            <a:off x="5741516" y="1532"/>
            <a:ext cx="3402484" cy="5139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4809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779468" y="1141328"/>
            <a:ext cx="4400908" cy="2435121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2404" b="1" dirty="0">
                <a:solidFill>
                  <a:srgbClr val="EA1D20"/>
                </a:solidFill>
                <a:latin typeface="Arial"/>
                <a:ea typeface="+mj-ea"/>
                <a:cs typeface="Arial"/>
              </a:rPr>
              <a:t>A source of</a:t>
            </a:r>
            <a:br>
              <a:rPr lang="en-GB" sz="2404" b="1" dirty="0">
                <a:solidFill>
                  <a:srgbClr val="EA1D20"/>
                </a:solidFill>
                <a:latin typeface="Arial"/>
                <a:ea typeface="+mj-ea"/>
                <a:cs typeface="Arial"/>
              </a:rPr>
            </a:br>
            <a:r>
              <a:rPr lang="en-GB" sz="2404" b="1" dirty="0">
                <a:solidFill>
                  <a:srgbClr val="EA1D20"/>
                </a:solidFill>
                <a:latin typeface="Arial"/>
                <a:ea typeface="+mj-ea"/>
                <a:cs typeface="Arial"/>
              </a:rPr>
              <a:t>frustration.</a:t>
            </a:r>
            <a:r>
              <a:rPr lang="en-GB" sz="2404" b="1" dirty="0">
                <a:solidFill>
                  <a:srgbClr val="F12328"/>
                </a:solidFill>
                <a:latin typeface="Arial"/>
                <a:cs typeface="Arial"/>
              </a:rPr>
              <a:t/>
            </a:r>
            <a:br>
              <a:rPr lang="en-GB" sz="2404" b="1" dirty="0">
                <a:solidFill>
                  <a:srgbClr val="F12328"/>
                </a:solidFill>
                <a:latin typeface="Arial"/>
                <a:cs typeface="Arial"/>
              </a:rPr>
            </a:br>
            <a:endParaRPr lang="en-GB" sz="2404" b="1" dirty="0">
              <a:solidFill>
                <a:srgbClr val="F12328"/>
              </a:solidFill>
              <a:latin typeface="Arial"/>
              <a:cs typeface="Arial"/>
            </a:endParaRP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Requires: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Clear and shared objectives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A clear roadmap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Anticipated road-blocks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d then, moving to WB means…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7045" y="1864"/>
            <a:ext cx="3426956" cy="5152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609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779468" y="825284"/>
            <a:ext cx="7363537" cy="2404216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WB inks are mature enough to address most challenges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Newest presses are well designed to run WB but some older presses can be retro-fitted without excessive costs. Speed will be limited by drying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Corona treatment is mandatory (no exceptions)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Sun Chemical have vast and deeply rooted expertise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s</a:t>
            </a:r>
          </a:p>
        </p:txBody>
      </p:sp>
      <p:pic>
        <p:nvPicPr>
          <p:cNvPr id="6" name="Picture 7" descr="shutterstock_130691546.pn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174" r="44191"/>
          <a:stretch/>
        </p:blipFill>
        <p:spPr>
          <a:xfrm>
            <a:off x="5367277" y="383008"/>
            <a:ext cx="3776724" cy="4758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73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779468" y="825283"/>
            <a:ext cx="7363537" cy="3251948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b="1" dirty="0">
                <a:solidFill>
                  <a:srgbClr val="5B5B5B"/>
                </a:solidFill>
                <a:latin typeface="Arial"/>
                <a:cs typeface="Arial"/>
              </a:rPr>
              <a:t>SunSpectro Aqua 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and </a:t>
            </a:r>
            <a:r>
              <a:rPr lang="en-GB" sz="1503" b="1" dirty="0">
                <a:solidFill>
                  <a:srgbClr val="5B5B5B"/>
                </a:solidFill>
                <a:latin typeface="Arial"/>
                <a:cs typeface="Arial"/>
              </a:rPr>
              <a:t>SunStrato Aqua 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are Sun Chemical’s product families of WB inks for films and foil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A single Coloured base range + bespoke technology varnishes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Dedicated portfolio of finished products: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951499" algn="l"/>
              </a:tabLst>
            </a:pPr>
            <a:r>
              <a:rPr lang="en-GB" sz="1503" b="1" dirty="0">
                <a:solidFill>
                  <a:srgbClr val="5B5B5B"/>
                </a:solidFill>
                <a:latin typeface="Arial"/>
                <a:cs typeface="Arial"/>
              </a:rPr>
              <a:t>AquaLam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	Laminated structures</a:t>
            </a:r>
          </a:p>
          <a:p>
            <a:pPr marL="741951" lvl="1" indent="-285091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951499" algn="l"/>
              </a:tabLst>
            </a:pPr>
            <a:r>
              <a:rPr lang="en-GB" sz="1503" b="1" dirty="0">
                <a:solidFill>
                  <a:srgbClr val="5B5B5B"/>
                </a:solidFill>
                <a:latin typeface="Arial"/>
                <a:cs typeface="Arial"/>
              </a:rPr>
              <a:t>AquaThene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	Polyethylene applications and Biodegradable films (carrier, 	outdoor, deep freeze, shrink wraps, garbage…) 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951499" algn="l"/>
              </a:tabLst>
            </a:pPr>
            <a:r>
              <a:rPr lang="en-GB" sz="1503" b="1" dirty="0">
                <a:solidFill>
                  <a:srgbClr val="5B5B5B"/>
                </a:solidFill>
                <a:latin typeface="Arial"/>
                <a:cs typeface="Arial"/>
              </a:rPr>
              <a:t>AquaFoil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	Aluminium foil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951499" algn="l"/>
              </a:tabLst>
            </a:pPr>
            <a:r>
              <a:rPr lang="en-GB" sz="1503" b="1" dirty="0">
                <a:solidFill>
                  <a:srgbClr val="5B5B5B"/>
                </a:solidFill>
                <a:latin typeface="Arial"/>
                <a:cs typeface="Arial"/>
              </a:rPr>
              <a:t>AquaSleeve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	Shrink sleeves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951499" algn="l"/>
              </a:tabLst>
            </a:pPr>
            <a:r>
              <a:rPr lang="en-GB" sz="1503" b="1" dirty="0">
                <a:solidFill>
                  <a:srgbClr val="5B5B5B"/>
                </a:solidFill>
                <a:latin typeface="Arial"/>
                <a:cs typeface="Arial"/>
              </a:rPr>
              <a:t>AquaProp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	Non-Woven, salad and snack pouches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951499" algn="l"/>
              </a:tabLst>
            </a:pPr>
            <a:r>
              <a:rPr lang="en-GB" sz="1503" b="1" dirty="0">
                <a:solidFill>
                  <a:srgbClr val="5B5B5B"/>
                </a:solidFill>
                <a:latin typeface="Arial"/>
                <a:cs typeface="Arial"/>
              </a:rPr>
              <a:t>AquaTape</a:t>
            </a: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	Adhesive tapes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n Chemical’s Technology concept</a:t>
            </a:r>
          </a:p>
        </p:txBody>
      </p:sp>
    </p:spTree>
    <p:extLst>
      <p:ext uri="{BB962C8B-B14F-4D97-AF65-F5344CB8AC3E}">
        <p14:creationId xmlns:p14="http://schemas.microsoft.com/office/powerpoint/2010/main" val="401834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Oval 12"/>
          <p:cNvSpPr>
            <a:spLocks noChangeArrowheads="1"/>
          </p:cNvSpPr>
          <p:nvPr/>
        </p:nvSpPr>
        <p:spPr bwMode="auto">
          <a:xfrm>
            <a:off x="7401050" y="1498357"/>
            <a:ext cx="307201" cy="307201"/>
          </a:xfrm>
          <a:prstGeom prst="ellipse">
            <a:avLst/>
          </a:prstGeom>
          <a:solidFill>
            <a:schemeClr val="accent1">
              <a:alpha val="40000"/>
            </a:schemeClr>
          </a:solidFill>
          <a:ln w="11113" cap="rnd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Oval 12"/>
          <p:cNvSpPr>
            <a:spLocks noChangeArrowheads="1"/>
          </p:cNvSpPr>
          <p:nvPr/>
        </p:nvSpPr>
        <p:spPr bwMode="auto">
          <a:xfrm>
            <a:off x="7167953" y="1389802"/>
            <a:ext cx="202814" cy="202814"/>
          </a:xfrm>
          <a:prstGeom prst="ellipse">
            <a:avLst/>
          </a:prstGeom>
          <a:solidFill>
            <a:schemeClr val="accent1">
              <a:alpha val="40000"/>
            </a:schemeClr>
          </a:solidFill>
          <a:ln w="11113" cap="rnd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9" name="Group 3"/>
          <p:cNvGrpSpPr/>
          <p:nvPr/>
        </p:nvGrpSpPr>
        <p:grpSpPr>
          <a:xfrm>
            <a:off x="7520272" y="1682255"/>
            <a:ext cx="421209" cy="421208"/>
            <a:chOff x="6588224" y="771550"/>
            <a:chExt cx="863798" cy="863798"/>
          </a:xfrm>
        </p:grpSpPr>
        <p:sp>
          <p:nvSpPr>
            <p:cNvPr id="130" name="Oval 129"/>
            <p:cNvSpPr/>
            <p:nvPr/>
          </p:nvSpPr>
          <p:spPr>
            <a:xfrm>
              <a:off x="6588224" y="771550"/>
              <a:ext cx="863798" cy="86379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31" name="Group 130"/>
            <p:cNvGrpSpPr/>
            <p:nvPr/>
          </p:nvGrpSpPr>
          <p:grpSpPr>
            <a:xfrm>
              <a:off x="6732240" y="915566"/>
              <a:ext cx="543218" cy="567910"/>
              <a:chOff x="4201318" y="2351881"/>
              <a:chExt cx="488950" cy="511175"/>
            </a:xfrm>
            <a:solidFill>
              <a:schemeClr val="bg1"/>
            </a:solidFill>
          </p:grpSpPr>
          <p:sp>
            <p:nvSpPr>
              <p:cNvPr id="133" name="Freeform 132"/>
              <p:cNvSpPr>
                <a:spLocks noEditPoints="1"/>
              </p:cNvSpPr>
              <p:nvPr/>
            </p:nvSpPr>
            <p:spPr bwMode="auto">
              <a:xfrm>
                <a:off x="4201318" y="2351881"/>
                <a:ext cx="488950" cy="511175"/>
              </a:xfrm>
              <a:custGeom>
                <a:avLst/>
                <a:gdLst>
                  <a:gd name="T0" fmla="*/ 124 w 130"/>
                  <a:gd name="T1" fmla="*/ 119 h 136"/>
                  <a:gd name="T2" fmla="*/ 82 w 130"/>
                  <a:gd name="T3" fmla="*/ 49 h 136"/>
                  <a:gd name="T4" fmla="*/ 82 w 130"/>
                  <a:gd name="T5" fmla="*/ 9 h 136"/>
                  <a:gd name="T6" fmla="*/ 84 w 130"/>
                  <a:gd name="T7" fmla="*/ 9 h 136"/>
                  <a:gd name="T8" fmla="*/ 89 w 130"/>
                  <a:gd name="T9" fmla="*/ 5 h 136"/>
                  <a:gd name="T10" fmla="*/ 84 w 130"/>
                  <a:gd name="T11" fmla="*/ 0 h 136"/>
                  <a:gd name="T12" fmla="*/ 46 w 130"/>
                  <a:gd name="T13" fmla="*/ 0 h 136"/>
                  <a:gd name="T14" fmla="*/ 41 w 130"/>
                  <a:gd name="T15" fmla="*/ 5 h 136"/>
                  <a:gd name="T16" fmla="*/ 46 w 130"/>
                  <a:gd name="T17" fmla="*/ 9 h 136"/>
                  <a:gd name="T18" fmla="*/ 48 w 130"/>
                  <a:gd name="T19" fmla="*/ 9 h 136"/>
                  <a:gd name="T20" fmla="*/ 48 w 130"/>
                  <a:gd name="T21" fmla="*/ 49 h 136"/>
                  <a:gd name="T22" fmla="*/ 6 w 130"/>
                  <a:gd name="T23" fmla="*/ 119 h 136"/>
                  <a:gd name="T24" fmla="*/ 16 w 130"/>
                  <a:gd name="T25" fmla="*/ 136 h 136"/>
                  <a:gd name="T26" fmla="*/ 114 w 130"/>
                  <a:gd name="T27" fmla="*/ 136 h 136"/>
                  <a:gd name="T28" fmla="*/ 124 w 130"/>
                  <a:gd name="T29" fmla="*/ 119 h 136"/>
                  <a:gd name="T30" fmla="*/ 120 w 130"/>
                  <a:gd name="T31" fmla="*/ 128 h 136"/>
                  <a:gd name="T32" fmla="*/ 114 w 130"/>
                  <a:gd name="T33" fmla="*/ 130 h 136"/>
                  <a:gd name="T34" fmla="*/ 16 w 130"/>
                  <a:gd name="T35" fmla="*/ 130 h 136"/>
                  <a:gd name="T36" fmla="*/ 10 w 130"/>
                  <a:gd name="T37" fmla="*/ 128 h 136"/>
                  <a:gd name="T38" fmla="*/ 11 w 130"/>
                  <a:gd name="T39" fmla="*/ 122 h 136"/>
                  <a:gd name="T40" fmla="*/ 53 w 130"/>
                  <a:gd name="T41" fmla="*/ 52 h 136"/>
                  <a:gd name="T42" fmla="*/ 54 w 130"/>
                  <a:gd name="T43" fmla="*/ 51 h 136"/>
                  <a:gd name="T44" fmla="*/ 54 w 130"/>
                  <a:gd name="T45" fmla="*/ 9 h 136"/>
                  <a:gd name="T46" fmla="*/ 76 w 130"/>
                  <a:gd name="T47" fmla="*/ 9 h 136"/>
                  <a:gd name="T48" fmla="*/ 76 w 130"/>
                  <a:gd name="T49" fmla="*/ 51 h 136"/>
                  <a:gd name="T50" fmla="*/ 77 w 130"/>
                  <a:gd name="T51" fmla="*/ 52 h 136"/>
                  <a:gd name="T52" fmla="*/ 118 w 130"/>
                  <a:gd name="T53" fmla="*/ 122 h 136"/>
                  <a:gd name="T54" fmla="*/ 120 w 130"/>
                  <a:gd name="T55" fmla="*/ 12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0" h="136">
                    <a:moveTo>
                      <a:pt x="124" y="119"/>
                    </a:moveTo>
                    <a:cubicBezTo>
                      <a:pt x="82" y="49"/>
                      <a:pt x="82" y="49"/>
                      <a:pt x="82" y="49"/>
                    </a:cubicBezTo>
                    <a:cubicBezTo>
                      <a:pt x="82" y="9"/>
                      <a:pt x="82" y="9"/>
                      <a:pt x="82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7" y="9"/>
                      <a:pt x="89" y="8"/>
                      <a:pt x="89" y="5"/>
                    </a:cubicBezTo>
                    <a:cubicBezTo>
                      <a:pt x="89" y="1"/>
                      <a:pt x="87" y="0"/>
                      <a:pt x="84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3" y="0"/>
                      <a:pt x="41" y="1"/>
                      <a:pt x="41" y="5"/>
                    </a:cubicBezTo>
                    <a:cubicBezTo>
                      <a:pt x="41" y="8"/>
                      <a:pt x="43" y="9"/>
                      <a:pt x="46" y="9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8" y="49"/>
                      <a:pt x="48" y="49"/>
                      <a:pt x="48" y="49"/>
                    </a:cubicBezTo>
                    <a:cubicBezTo>
                      <a:pt x="6" y="119"/>
                      <a:pt x="6" y="119"/>
                      <a:pt x="6" y="119"/>
                    </a:cubicBezTo>
                    <a:cubicBezTo>
                      <a:pt x="0" y="128"/>
                      <a:pt x="5" y="136"/>
                      <a:pt x="16" y="136"/>
                    </a:cubicBezTo>
                    <a:cubicBezTo>
                      <a:pt x="114" y="136"/>
                      <a:pt x="114" y="136"/>
                      <a:pt x="114" y="136"/>
                    </a:cubicBezTo>
                    <a:cubicBezTo>
                      <a:pt x="125" y="136"/>
                      <a:pt x="130" y="128"/>
                      <a:pt x="124" y="119"/>
                    </a:cubicBezTo>
                    <a:close/>
                    <a:moveTo>
                      <a:pt x="120" y="128"/>
                    </a:moveTo>
                    <a:cubicBezTo>
                      <a:pt x="119" y="129"/>
                      <a:pt x="118" y="130"/>
                      <a:pt x="114" y="130"/>
                    </a:cubicBezTo>
                    <a:cubicBezTo>
                      <a:pt x="16" y="130"/>
                      <a:pt x="16" y="130"/>
                      <a:pt x="16" y="130"/>
                    </a:cubicBezTo>
                    <a:cubicBezTo>
                      <a:pt x="12" y="130"/>
                      <a:pt x="11" y="129"/>
                      <a:pt x="10" y="128"/>
                    </a:cubicBezTo>
                    <a:cubicBezTo>
                      <a:pt x="10" y="127"/>
                      <a:pt x="10" y="125"/>
                      <a:pt x="11" y="122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76" y="9"/>
                      <a:pt x="76" y="9"/>
                      <a:pt x="76" y="9"/>
                    </a:cubicBezTo>
                    <a:cubicBezTo>
                      <a:pt x="76" y="51"/>
                      <a:pt x="76" y="51"/>
                      <a:pt x="76" y="51"/>
                    </a:cubicBezTo>
                    <a:cubicBezTo>
                      <a:pt x="77" y="52"/>
                      <a:pt x="77" y="52"/>
                      <a:pt x="77" y="52"/>
                    </a:cubicBezTo>
                    <a:cubicBezTo>
                      <a:pt x="118" y="122"/>
                      <a:pt x="118" y="122"/>
                      <a:pt x="118" y="122"/>
                    </a:cubicBezTo>
                    <a:cubicBezTo>
                      <a:pt x="120" y="125"/>
                      <a:pt x="120" y="127"/>
                      <a:pt x="120" y="12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  <p:sp>
            <p:nvSpPr>
              <p:cNvPr id="134" name="Freeform 133"/>
              <p:cNvSpPr>
                <a:spLocks noEditPoints="1"/>
              </p:cNvSpPr>
              <p:nvPr/>
            </p:nvSpPr>
            <p:spPr bwMode="auto">
              <a:xfrm>
                <a:off x="4269580" y="2593181"/>
                <a:ext cx="352425" cy="220663"/>
              </a:xfrm>
              <a:custGeom>
                <a:avLst/>
                <a:gdLst>
                  <a:gd name="T0" fmla="*/ 64 w 94"/>
                  <a:gd name="T1" fmla="*/ 9 h 59"/>
                  <a:gd name="T2" fmla="*/ 94 w 94"/>
                  <a:gd name="T3" fmla="*/ 59 h 59"/>
                  <a:gd name="T4" fmla="*/ 0 w 94"/>
                  <a:gd name="T5" fmla="*/ 59 h 59"/>
                  <a:gd name="T6" fmla="*/ 30 w 94"/>
                  <a:gd name="T7" fmla="*/ 9 h 59"/>
                  <a:gd name="T8" fmla="*/ 64 w 94"/>
                  <a:gd name="T9" fmla="*/ 9 h 59"/>
                  <a:gd name="T10" fmla="*/ 52 w 94"/>
                  <a:gd name="T11" fmla="*/ 13 h 59"/>
                  <a:gd name="T12" fmla="*/ 46 w 94"/>
                  <a:gd name="T13" fmla="*/ 1 h 59"/>
                  <a:gd name="T14" fmla="*/ 34 w 94"/>
                  <a:gd name="T15" fmla="*/ 8 h 59"/>
                  <a:gd name="T16" fmla="*/ 40 w 94"/>
                  <a:gd name="T17" fmla="*/ 20 h 59"/>
                  <a:gd name="T18" fmla="*/ 52 w 94"/>
                  <a:gd name="T19" fmla="*/ 13 h 59"/>
                  <a:gd name="T20" fmla="*/ 62 w 94"/>
                  <a:gd name="T21" fmla="*/ 27 h 59"/>
                  <a:gd name="T22" fmla="*/ 58 w 94"/>
                  <a:gd name="T23" fmla="*/ 20 h 59"/>
                  <a:gd name="T24" fmla="*/ 52 w 94"/>
                  <a:gd name="T25" fmla="*/ 23 h 59"/>
                  <a:gd name="T26" fmla="*/ 55 w 94"/>
                  <a:gd name="T27" fmla="*/ 30 h 59"/>
                  <a:gd name="T28" fmla="*/ 62 w 94"/>
                  <a:gd name="T29" fmla="*/ 2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4" h="59">
                    <a:moveTo>
                      <a:pt x="64" y="9"/>
                    </a:moveTo>
                    <a:cubicBezTo>
                      <a:pt x="94" y="59"/>
                      <a:pt x="94" y="59"/>
                      <a:pt x="94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30" y="9"/>
                      <a:pt x="30" y="9"/>
                      <a:pt x="30" y="9"/>
                    </a:cubicBezTo>
                    <a:lnTo>
                      <a:pt x="64" y="9"/>
                    </a:lnTo>
                    <a:close/>
                    <a:moveTo>
                      <a:pt x="52" y="13"/>
                    </a:moveTo>
                    <a:cubicBezTo>
                      <a:pt x="54" y="8"/>
                      <a:pt x="51" y="3"/>
                      <a:pt x="46" y="1"/>
                    </a:cubicBezTo>
                    <a:cubicBezTo>
                      <a:pt x="41" y="0"/>
                      <a:pt x="36" y="3"/>
                      <a:pt x="34" y="8"/>
                    </a:cubicBezTo>
                    <a:cubicBezTo>
                      <a:pt x="33" y="13"/>
                      <a:pt x="35" y="18"/>
                      <a:pt x="40" y="20"/>
                    </a:cubicBezTo>
                    <a:cubicBezTo>
                      <a:pt x="45" y="21"/>
                      <a:pt x="51" y="18"/>
                      <a:pt x="52" y="13"/>
                    </a:cubicBezTo>
                    <a:close/>
                    <a:moveTo>
                      <a:pt x="62" y="27"/>
                    </a:moveTo>
                    <a:cubicBezTo>
                      <a:pt x="63" y="24"/>
                      <a:pt x="61" y="21"/>
                      <a:pt x="58" y="20"/>
                    </a:cubicBezTo>
                    <a:cubicBezTo>
                      <a:pt x="55" y="19"/>
                      <a:pt x="52" y="21"/>
                      <a:pt x="52" y="23"/>
                    </a:cubicBezTo>
                    <a:cubicBezTo>
                      <a:pt x="51" y="26"/>
                      <a:pt x="52" y="29"/>
                      <a:pt x="55" y="30"/>
                    </a:cubicBezTo>
                    <a:cubicBezTo>
                      <a:pt x="58" y="31"/>
                      <a:pt x="61" y="29"/>
                      <a:pt x="62" y="27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/>
              </a:p>
            </p:txBody>
          </p:sp>
        </p:grpSp>
      </p:grpSp>
      <p:sp>
        <p:nvSpPr>
          <p:cNvPr id="101" name="Oval 12"/>
          <p:cNvSpPr>
            <a:spLocks noChangeArrowheads="1"/>
          </p:cNvSpPr>
          <p:nvPr/>
        </p:nvSpPr>
        <p:spPr bwMode="auto">
          <a:xfrm>
            <a:off x="7217754" y="1926518"/>
            <a:ext cx="531355" cy="531355"/>
          </a:xfrm>
          <a:prstGeom prst="ellipse">
            <a:avLst/>
          </a:prstGeom>
          <a:solidFill>
            <a:schemeClr val="accent6">
              <a:alpha val="40000"/>
            </a:schemeClr>
          </a:solidFill>
          <a:ln w="11113" cap="rnd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3778" y="230215"/>
            <a:ext cx="8443664" cy="400110"/>
          </a:xfrm>
        </p:spPr>
        <p:txBody>
          <a:bodyPr/>
          <a:lstStyle/>
          <a:p>
            <a:r>
              <a:rPr lang="en-GB" sz="2400" dirty="0"/>
              <a:t>Today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5452730" y="1056193"/>
            <a:ext cx="1812464" cy="39113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wever…</a:t>
            </a:r>
            <a:endParaRPr lang="en-GB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662286" y="1219562"/>
            <a:ext cx="1876760" cy="2535259"/>
            <a:chOff x="662286" y="1311498"/>
            <a:chExt cx="1876760" cy="2535259"/>
          </a:xfrm>
        </p:grpSpPr>
        <p:grpSp>
          <p:nvGrpSpPr>
            <p:cNvPr id="6" name="Group 5"/>
            <p:cNvGrpSpPr/>
            <p:nvPr/>
          </p:nvGrpSpPr>
          <p:grpSpPr>
            <a:xfrm>
              <a:off x="836972" y="1421351"/>
              <a:ext cx="1498328" cy="2425406"/>
              <a:chOff x="926994" y="1696147"/>
              <a:chExt cx="1498328" cy="2425406"/>
            </a:xfrm>
          </p:grpSpPr>
          <p:sp>
            <p:nvSpPr>
              <p:cNvPr id="12" name="Freeform 5"/>
              <p:cNvSpPr>
                <a:spLocks noEditPoints="1"/>
              </p:cNvSpPr>
              <p:nvPr/>
            </p:nvSpPr>
            <p:spPr bwMode="auto">
              <a:xfrm rot="8562">
                <a:off x="926994" y="1696147"/>
                <a:ext cx="1498328" cy="2425406"/>
              </a:xfrm>
              <a:custGeom>
                <a:avLst/>
                <a:gdLst>
                  <a:gd name="T0" fmla="*/ 468 w 1356"/>
                  <a:gd name="T1" fmla="*/ 2075 h 2193"/>
                  <a:gd name="T2" fmla="*/ 374 w 1356"/>
                  <a:gd name="T3" fmla="*/ 1923 h 2193"/>
                  <a:gd name="T4" fmla="*/ 355 w 1356"/>
                  <a:gd name="T5" fmla="*/ 1780 h 2193"/>
                  <a:gd name="T6" fmla="*/ 380 w 1356"/>
                  <a:gd name="T7" fmla="*/ 1632 h 2193"/>
                  <a:gd name="T8" fmla="*/ 246 w 1356"/>
                  <a:gd name="T9" fmla="*/ 1347 h 2193"/>
                  <a:gd name="T10" fmla="*/ 211 w 1356"/>
                  <a:gd name="T11" fmla="*/ 1221 h 2193"/>
                  <a:gd name="T12" fmla="*/ 0 w 1356"/>
                  <a:gd name="T13" fmla="*/ 678 h 2193"/>
                  <a:gd name="T14" fmla="*/ 632 w 1356"/>
                  <a:gd name="T15" fmla="*/ 1 h 2193"/>
                  <a:gd name="T16" fmla="*/ 666 w 1356"/>
                  <a:gd name="T17" fmla="*/ 0 h 2193"/>
                  <a:gd name="T18" fmla="*/ 1356 w 1356"/>
                  <a:gd name="T19" fmla="*/ 678 h 2193"/>
                  <a:gd name="T20" fmla="*/ 1145 w 1356"/>
                  <a:gd name="T21" fmla="*/ 1221 h 2193"/>
                  <a:gd name="T22" fmla="*/ 1110 w 1356"/>
                  <a:gd name="T23" fmla="*/ 1347 h 2193"/>
                  <a:gd name="T24" fmla="*/ 976 w 1356"/>
                  <a:gd name="T25" fmla="*/ 1632 h 2193"/>
                  <a:gd name="T26" fmla="*/ 1001 w 1356"/>
                  <a:gd name="T27" fmla="*/ 1780 h 2193"/>
                  <a:gd name="T28" fmla="*/ 982 w 1356"/>
                  <a:gd name="T29" fmla="*/ 1923 h 2193"/>
                  <a:gd name="T30" fmla="*/ 888 w 1356"/>
                  <a:gd name="T31" fmla="*/ 2075 h 2193"/>
                  <a:gd name="T32" fmla="*/ 597 w 1356"/>
                  <a:gd name="T33" fmla="*/ 2193 h 2193"/>
                  <a:gd name="T34" fmla="*/ 667 w 1356"/>
                  <a:gd name="T35" fmla="*/ 43 h 2193"/>
                  <a:gd name="T36" fmla="*/ 635 w 1356"/>
                  <a:gd name="T37" fmla="*/ 45 h 2193"/>
                  <a:gd name="T38" fmla="*/ 43 w 1356"/>
                  <a:gd name="T39" fmla="*/ 678 h 2193"/>
                  <a:gd name="T40" fmla="*/ 248 w 1356"/>
                  <a:gd name="T41" fmla="*/ 1197 h 2193"/>
                  <a:gd name="T42" fmla="*/ 290 w 1356"/>
                  <a:gd name="T43" fmla="*/ 1342 h 2193"/>
                  <a:gd name="T44" fmla="*/ 423 w 1356"/>
                  <a:gd name="T45" fmla="*/ 1611 h 2193"/>
                  <a:gd name="T46" fmla="*/ 462 w 1356"/>
                  <a:gd name="T47" fmla="*/ 1638 h 2193"/>
                  <a:gd name="T48" fmla="*/ 385 w 1356"/>
                  <a:gd name="T49" fmla="*/ 1724 h 2193"/>
                  <a:gd name="T50" fmla="*/ 407 w 1356"/>
                  <a:gd name="T51" fmla="*/ 1780 h 2193"/>
                  <a:gd name="T52" fmla="*/ 385 w 1356"/>
                  <a:gd name="T53" fmla="*/ 1837 h 2193"/>
                  <a:gd name="T54" fmla="*/ 426 w 1356"/>
                  <a:gd name="T55" fmla="*/ 1909 h 2193"/>
                  <a:gd name="T56" fmla="*/ 415 w 1356"/>
                  <a:gd name="T57" fmla="*/ 1951 h 2193"/>
                  <a:gd name="T58" fmla="*/ 515 w 1356"/>
                  <a:gd name="T59" fmla="*/ 2036 h 2193"/>
                  <a:gd name="T60" fmla="*/ 511 w 1356"/>
                  <a:gd name="T61" fmla="*/ 2065 h 2193"/>
                  <a:gd name="T62" fmla="*/ 759 w 1356"/>
                  <a:gd name="T63" fmla="*/ 2149 h 2193"/>
                  <a:gd name="T64" fmla="*/ 843 w 1356"/>
                  <a:gd name="T65" fmla="*/ 2045 h 2193"/>
                  <a:gd name="T66" fmla="*/ 855 w 1356"/>
                  <a:gd name="T67" fmla="*/ 2036 h 2193"/>
                  <a:gd name="T68" fmla="*/ 933 w 1356"/>
                  <a:gd name="T69" fmla="*/ 1915 h 2193"/>
                  <a:gd name="T70" fmla="*/ 935 w 1356"/>
                  <a:gd name="T71" fmla="*/ 1906 h 2193"/>
                  <a:gd name="T72" fmla="*/ 953 w 1356"/>
                  <a:gd name="T73" fmla="*/ 1785 h 2193"/>
                  <a:gd name="T74" fmla="*/ 953 w 1356"/>
                  <a:gd name="T75" fmla="*/ 1776 h 2193"/>
                  <a:gd name="T76" fmla="*/ 909 w 1356"/>
                  <a:gd name="T77" fmla="*/ 1642 h 2193"/>
                  <a:gd name="T78" fmla="*/ 907 w 1356"/>
                  <a:gd name="T79" fmla="*/ 1629 h 2193"/>
                  <a:gd name="T80" fmla="*/ 1052 w 1356"/>
                  <a:gd name="T81" fmla="*/ 1425 h 2193"/>
                  <a:gd name="T82" fmla="*/ 1106 w 1356"/>
                  <a:gd name="T83" fmla="*/ 1200 h 2193"/>
                  <a:gd name="T84" fmla="*/ 1283 w 1356"/>
                  <a:gd name="T85" fmla="*/ 877 h 2193"/>
                  <a:gd name="T86" fmla="*/ 678 w 1356"/>
                  <a:gd name="T87" fmla="*/ 43 h 2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56" h="2193">
                    <a:moveTo>
                      <a:pt x="597" y="2193"/>
                    </a:moveTo>
                    <a:cubicBezTo>
                      <a:pt x="529" y="2193"/>
                      <a:pt x="473" y="2142"/>
                      <a:pt x="468" y="2075"/>
                    </a:cubicBezTo>
                    <a:cubicBezTo>
                      <a:pt x="411" y="2060"/>
                      <a:pt x="371" y="2009"/>
                      <a:pt x="371" y="1951"/>
                    </a:cubicBezTo>
                    <a:cubicBezTo>
                      <a:pt x="371" y="1941"/>
                      <a:pt x="372" y="1932"/>
                      <a:pt x="374" y="1923"/>
                    </a:cubicBezTo>
                    <a:cubicBezTo>
                      <a:pt x="353" y="1899"/>
                      <a:pt x="341" y="1869"/>
                      <a:pt x="341" y="1837"/>
                    </a:cubicBezTo>
                    <a:cubicBezTo>
                      <a:pt x="341" y="1818"/>
                      <a:pt x="346" y="1798"/>
                      <a:pt x="355" y="1780"/>
                    </a:cubicBezTo>
                    <a:cubicBezTo>
                      <a:pt x="346" y="1763"/>
                      <a:pt x="341" y="1743"/>
                      <a:pt x="341" y="1724"/>
                    </a:cubicBezTo>
                    <a:cubicBezTo>
                      <a:pt x="341" y="1689"/>
                      <a:pt x="355" y="1656"/>
                      <a:pt x="380" y="1632"/>
                    </a:cubicBezTo>
                    <a:cubicBezTo>
                      <a:pt x="323" y="1580"/>
                      <a:pt x="281" y="1511"/>
                      <a:pt x="262" y="1436"/>
                    </a:cubicBezTo>
                    <a:cubicBezTo>
                      <a:pt x="254" y="1407"/>
                      <a:pt x="250" y="1378"/>
                      <a:pt x="246" y="1347"/>
                    </a:cubicBezTo>
                    <a:cubicBezTo>
                      <a:pt x="241" y="1303"/>
                      <a:pt x="235" y="1257"/>
                      <a:pt x="213" y="1224"/>
                    </a:cubicBezTo>
                    <a:cubicBezTo>
                      <a:pt x="211" y="1221"/>
                      <a:pt x="211" y="1221"/>
                      <a:pt x="211" y="1221"/>
                    </a:cubicBezTo>
                    <a:cubicBezTo>
                      <a:pt x="131" y="1101"/>
                      <a:pt x="68" y="1006"/>
                      <a:pt x="31" y="890"/>
                    </a:cubicBezTo>
                    <a:cubicBezTo>
                      <a:pt x="10" y="822"/>
                      <a:pt x="0" y="753"/>
                      <a:pt x="0" y="678"/>
                    </a:cubicBezTo>
                    <a:cubicBezTo>
                      <a:pt x="0" y="505"/>
                      <a:pt x="65" y="340"/>
                      <a:pt x="183" y="214"/>
                    </a:cubicBezTo>
                    <a:cubicBezTo>
                      <a:pt x="301" y="88"/>
                      <a:pt x="460" y="13"/>
                      <a:pt x="632" y="1"/>
                    </a:cubicBezTo>
                    <a:cubicBezTo>
                      <a:pt x="639" y="1"/>
                      <a:pt x="647" y="0"/>
                      <a:pt x="655" y="0"/>
                    </a:cubicBezTo>
                    <a:cubicBezTo>
                      <a:pt x="658" y="0"/>
                      <a:pt x="662" y="0"/>
                      <a:pt x="666" y="0"/>
                    </a:cubicBezTo>
                    <a:cubicBezTo>
                      <a:pt x="670" y="0"/>
                      <a:pt x="674" y="0"/>
                      <a:pt x="678" y="0"/>
                    </a:cubicBezTo>
                    <a:cubicBezTo>
                      <a:pt x="1052" y="0"/>
                      <a:pt x="1356" y="304"/>
                      <a:pt x="1356" y="678"/>
                    </a:cubicBezTo>
                    <a:cubicBezTo>
                      <a:pt x="1356" y="753"/>
                      <a:pt x="1346" y="822"/>
                      <a:pt x="1325" y="890"/>
                    </a:cubicBezTo>
                    <a:cubicBezTo>
                      <a:pt x="1288" y="1006"/>
                      <a:pt x="1225" y="1101"/>
                      <a:pt x="1145" y="1221"/>
                    </a:cubicBezTo>
                    <a:cubicBezTo>
                      <a:pt x="1143" y="1224"/>
                      <a:pt x="1143" y="1224"/>
                      <a:pt x="1143" y="1224"/>
                    </a:cubicBezTo>
                    <a:cubicBezTo>
                      <a:pt x="1121" y="1257"/>
                      <a:pt x="1115" y="1303"/>
                      <a:pt x="1110" y="1347"/>
                    </a:cubicBezTo>
                    <a:cubicBezTo>
                      <a:pt x="1106" y="1378"/>
                      <a:pt x="1102" y="1407"/>
                      <a:pt x="1094" y="1436"/>
                    </a:cubicBezTo>
                    <a:cubicBezTo>
                      <a:pt x="1075" y="1511"/>
                      <a:pt x="1033" y="1580"/>
                      <a:pt x="976" y="1632"/>
                    </a:cubicBezTo>
                    <a:cubicBezTo>
                      <a:pt x="1001" y="1656"/>
                      <a:pt x="1015" y="1689"/>
                      <a:pt x="1015" y="1724"/>
                    </a:cubicBezTo>
                    <a:cubicBezTo>
                      <a:pt x="1015" y="1743"/>
                      <a:pt x="1010" y="1763"/>
                      <a:pt x="1001" y="1780"/>
                    </a:cubicBezTo>
                    <a:cubicBezTo>
                      <a:pt x="1010" y="1798"/>
                      <a:pt x="1015" y="1818"/>
                      <a:pt x="1015" y="1837"/>
                    </a:cubicBezTo>
                    <a:cubicBezTo>
                      <a:pt x="1015" y="1869"/>
                      <a:pt x="1003" y="1899"/>
                      <a:pt x="982" y="1923"/>
                    </a:cubicBezTo>
                    <a:cubicBezTo>
                      <a:pt x="984" y="1932"/>
                      <a:pt x="985" y="1941"/>
                      <a:pt x="985" y="1951"/>
                    </a:cubicBezTo>
                    <a:cubicBezTo>
                      <a:pt x="985" y="2009"/>
                      <a:pt x="945" y="2060"/>
                      <a:pt x="888" y="2075"/>
                    </a:cubicBezTo>
                    <a:cubicBezTo>
                      <a:pt x="883" y="2142"/>
                      <a:pt x="827" y="2193"/>
                      <a:pt x="759" y="2193"/>
                    </a:cubicBezTo>
                    <a:lnTo>
                      <a:pt x="597" y="2193"/>
                    </a:lnTo>
                    <a:close/>
                    <a:moveTo>
                      <a:pt x="678" y="43"/>
                    </a:moveTo>
                    <a:cubicBezTo>
                      <a:pt x="674" y="43"/>
                      <a:pt x="671" y="43"/>
                      <a:pt x="667" y="43"/>
                    </a:cubicBezTo>
                    <a:cubicBezTo>
                      <a:pt x="663" y="43"/>
                      <a:pt x="660" y="43"/>
                      <a:pt x="656" y="44"/>
                    </a:cubicBezTo>
                    <a:cubicBezTo>
                      <a:pt x="649" y="44"/>
                      <a:pt x="642" y="44"/>
                      <a:pt x="635" y="45"/>
                    </a:cubicBezTo>
                    <a:cubicBezTo>
                      <a:pt x="474" y="55"/>
                      <a:pt x="325" y="126"/>
                      <a:pt x="215" y="244"/>
                    </a:cubicBezTo>
                    <a:cubicBezTo>
                      <a:pt x="104" y="362"/>
                      <a:pt x="43" y="516"/>
                      <a:pt x="43" y="678"/>
                    </a:cubicBezTo>
                    <a:cubicBezTo>
                      <a:pt x="43" y="749"/>
                      <a:pt x="53" y="814"/>
                      <a:pt x="73" y="877"/>
                    </a:cubicBezTo>
                    <a:cubicBezTo>
                      <a:pt x="107" y="987"/>
                      <a:pt x="169" y="1080"/>
                      <a:pt x="248" y="1197"/>
                    </a:cubicBezTo>
                    <a:cubicBezTo>
                      <a:pt x="250" y="1200"/>
                      <a:pt x="250" y="1200"/>
                      <a:pt x="250" y="1200"/>
                    </a:cubicBezTo>
                    <a:cubicBezTo>
                      <a:pt x="277" y="1242"/>
                      <a:pt x="283" y="1293"/>
                      <a:pt x="290" y="1342"/>
                    </a:cubicBezTo>
                    <a:cubicBezTo>
                      <a:pt x="293" y="1371"/>
                      <a:pt x="296" y="1398"/>
                      <a:pt x="304" y="1425"/>
                    </a:cubicBezTo>
                    <a:cubicBezTo>
                      <a:pt x="322" y="1498"/>
                      <a:pt x="364" y="1564"/>
                      <a:pt x="423" y="1611"/>
                    </a:cubicBezTo>
                    <a:cubicBezTo>
                      <a:pt x="431" y="1617"/>
                      <a:pt x="440" y="1623"/>
                      <a:pt x="449" y="1629"/>
                    </a:cubicBezTo>
                    <a:cubicBezTo>
                      <a:pt x="462" y="1638"/>
                      <a:pt x="462" y="1638"/>
                      <a:pt x="462" y="1638"/>
                    </a:cubicBezTo>
                    <a:cubicBezTo>
                      <a:pt x="447" y="1642"/>
                      <a:pt x="447" y="1642"/>
                      <a:pt x="447" y="1642"/>
                    </a:cubicBezTo>
                    <a:cubicBezTo>
                      <a:pt x="410" y="1653"/>
                      <a:pt x="385" y="1686"/>
                      <a:pt x="385" y="1724"/>
                    </a:cubicBezTo>
                    <a:cubicBezTo>
                      <a:pt x="385" y="1743"/>
                      <a:pt x="391" y="1761"/>
                      <a:pt x="403" y="1776"/>
                    </a:cubicBezTo>
                    <a:cubicBezTo>
                      <a:pt x="407" y="1780"/>
                      <a:pt x="407" y="1780"/>
                      <a:pt x="407" y="1780"/>
                    </a:cubicBezTo>
                    <a:cubicBezTo>
                      <a:pt x="403" y="1785"/>
                      <a:pt x="403" y="1785"/>
                      <a:pt x="403" y="1785"/>
                    </a:cubicBezTo>
                    <a:cubicBezTo>
                      <a:pt x="391" y="1800"/>
                      <a:pt x="385" y="1818"/>
                      <a:pt x="385" y="1837"/>
                    </a:cubicBezTo>
                    <a:cubicBezTo>
                      <a:pt x="385" y="1864"/>
                      <a:pt x="398" y="1890"/>
                      <a:pt x="421" y="1906"/>
                    </a:cubicBezTo>
                    <a:cubicBezTo>
                      <a:pt x="426" y="1909"/>
                      <a:pt x="426" y="1909"/>
                      <a:pt x="426" y="1909"/>
                    </a:cubicBezTo>
                    <a:cubicBezTo>
                      <a:pt x="423" y="1915"/>
                      <a:pt x="423" y="1915"/>
                      <a:pt x="423" y="1915"/>
                    </a:cubicBezTo>
                    <a:cubicBezTo>
                      <a:pt x="417" y="1926"/>
                      <a:pt x="415" y="1938"/>
                      <a:pt x="415" y="1951"/>
                    </a:cubicBezTo>
                    <a:cubicBezTo>
                      <a:pt x="415" y="1998"/>
                      <a:pt x="453" y="2036"/>
                      <a:pt x="501" y="2036"/>
                    </a:cubicBezTo>
                    <a:cubicBezTo>
                      <a:pt x="515" y="2036"/>
                      <a:pt x="515" y="2036"/>
                      <a:pt x="515" y="2036"/>
                    </a:cubicBezTo>
                    <a:cubicBezTo>
                      <a:pt x="513" y="2045"/>
                      <a:pt x="513" y="2045"/>
                      <a:pt x="513" y="2045"/>
                    </a:cubicBezTo>
                    <a:cubicBezTo>
                      <a:pt x="512" y="2051"/>
                      <a:pt x="511" y="2058"/>
                      <a:pt x="511" y="2065"/>
                    </a:cubicBezTo>
                    <a:cubicBezTo>
                      <a:pt x="511" y="2111"/>
                      <a:pt x="549" y="2149"/>
                      <a:pt x="597" y="2149"/>
                    </a:cubicBezTo>
                    <a:cubicBezTo>
                      <a:pt x="759" y="2149"/>
                      <a:pt x="759" y="2149"/>
                      <a:pt x="759" y="2149"/>
                    </a:cubicBezTo>
                    <a:cubicBezTo>
                      <a:pt x="807" y="2149"/>
                      <a:pt x="845" y="2111"/>
                      <a:pt x="845" y="2065"/>
                    </a:cubicBezTo>
                    <a:cubicBezTo>
                      <a:pt x="845" y="2058"/>
                      <a:pt x="844" y="2051"/>
                      <a:pt x="843" y="2045"/>
                    </a:cubicBezTo>
                    <a:cubicBezTo>
                      <a:pt x="841" y="2036"/>
                      <a:pt x="841" y="2036"/>
                      <a:pt x="841" y="2036"/>
                    </a:cubicBezTo>
                    <a:cubicBezTo>
                      <a:pt x="855" y="2036"/>
                      <a:pt x="855" y="2036"/>
                      <a:pt x="855" y="2036"/>
                    </a:cubicBezTo>
                    <a:cubicBezTo>
                      <a:pt x="903" y="2036"/>
                      <a:pt x="941" y="1998"/>
                      <a:pt x="941" y="1951"/>
                    </a:cubicBezTo>
                    <a:cubicBezTo>
                      <a:pt x="941" y="1938"/>
                      <a:pt x="939" y="1926"/>
                      <a:pt x="933" y="1915"/>
                    </a:cubicBezTo>
                    <a:cubicBezTo>
                      <a:pt x="930" y="1909"/>
                      <a:pt x="930" y="1909"/>
                      <a:pt x="930" y="1909"/>
                    </a:cubicBezTo>
                    <a:cubicBezTo>
                      <a:pt x="935" y="1906"/>
                      <a:pt x="935" y="1906"/>
                      <a:pt x="935" y="1906"/>
                    </a:cubicBezTo>
                    <a:cubicBezTo>
                      <a:pt x="958" y="1890"/>
                      <a:pt x="971" y="1864"/>
                      <a:pt x="971" y="1837"/>
                    </a:cubicBezTo>
                    <a:cubicBezTo>
                      <a:pt x="971" y="1818"/>
                      <a:pt x="965" y="1800"/>
                      <a:pt x="953" y="1785"/>
                    </a:cubicBezTo>
                    <a:cubicBezTo>
                      <a:pt x="949" y="1780"/>
                      <a:pt x="949" y="1780"/>
                      <a:pt x="949" y="1780"/>
                    </a:cubicBezTo>
                    <a:cubicBezTo>
                      <a:pt x="953" y="1776"/>
                      <a:pt x="953" y="1776"/>
                      <a:pt x="953" y="1776"/>
                    </a:cubicBezTo>
                    <a:cubicBezTo>
                      <a:pt x="965" y="1761"/>
                      <a:pt x="971" y="1743"/>
                      <a:pt x="971" y="1724"/>
                    </a:cubicBezTo>
                    <a:cubicBezTo>
                      <a:pt x="971" y="1686"/>
                      <a:pt x="946" y="1653"/>
                      <a:pt x="909" y="1642"/>
                    </a:cubicBezTo>
                    <a:cubicBezTo>
                      <a:pt x="894" y="1638"/>
                      <a:pt x="894" y="1638"/>
                      <a:pt x="894" y="1638"/>
                    </a:cubicBezTo>
                    <a:cubicBezTo>
                      <a:pt x="907" y="1629"/>
                      <a:pt x="907" y="1629"/>
                      <a:pt x="907" y="1629"/>
                    </a:cubicBezTo>
                    <a:cubicBezTo>
                      <a:pt x="916" y="1623"/>
                      <a:pt x="925" y="1617"/>
                      <a:pt x="933" y="1611"/>
                    </a:cubicBezTo>
                    <a:cubicBezTo>
                      <a:pt x="992" y="1564"/>
                      <a:pt x="1034" y="1498"/>
                      <a:pt x="1052" y="1425"/>
                    </a:cubicBezTo>
                    <a:cubicBezTo>
                      <a:pt x="1060" y="1398"/>
                      <a:pt x="1063" y="1371"/>
                      <a:pt x="1066" y="1342"/>
                    </a:cubicBezTo>
                    <a:cubicBezTo>
                      <a:pt x="1073" y="1293"/>
                      <a:pt x="1079" y="1242"/>
                      <a:pt x="1106" y="1200"/>
                    </a:cubicBezTo>
                    <a:cubicBezTo>
                      <a:pt x="1109" y="1197"/>
                      <a:pt x="1109" y="1197"/>
                      <a:pt x="1109" y="1197"/>
                    </a:cubicBezTo>
                    <a:cubicBezTo>
                      <a:pt x="1187" y="1079"/>
                      <a:pt x="1249" y="987"/>
                      <a:pt x="1283" y="877"/>
                    </a:cubicBezTo>
                    <a:cubicBezTo>
                      <a:pt x="1303" y="814"/>
                      <a:pt x="1313" y="749"/>
                      <a:pt x="1313" y="678"/>
                    </a:cubicBezTo>
                    <a:cubicBezTo>
                      <a:pt x="1313" y="328"/>
                      <a:pt x="1028" y="43"/>
                      <a:pt x="678" y="43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 rot="8562">
                <a:off x="1023721" y="1792235"/>
                <a:ext cx="1306153" cy="1720063"/>
              </a:xfrm>
              <a:custGeom>
                <a:avLst/>
                <a:gdLst>
                  <a:gd name="connsiteX0" fmla="*/ 630992 w 1306153"/>
                  <a:gd name="connsiteY0" fmla="*/ 0 h 1720063"/>
                  <a:gd name="connsiteX1" fmla="*/ 642043 w 1306153"/>
                  <a:gd name="connsiteY1" fmla="*/ 0 h 1720063"/>
                  <a:gd name="connsiteX2" fmla="*/ 653093 w 1306153"/>
                  <a:gd name="connsiteY2" fmla="*/ 0 h 1720063"/>
                  <a:gd name="connsiteX3" fmla="*/ 653093 w 1306153"/>
                  <a:gd name="connsiteY3" fmla="*/ 1 h 1720063"/>
                  <a:gd name="connsiteX4" fmla="*/ 676172 w 1306153"/>
                  <a:gd name="connsiteY4" fmla="*/ 1171 h 1720063"/>
                  <a:gd name="connsiteX5" fmla="*/ 683220 w 1306153"/>
                  <a:gd name="connsiteY5" fmla="*/ 479 h 1720063"/>
                  <a:gd name="connsiteX6" fmla="*/ 705256 w 1306153"/>
                  <a:gd name="connsiteY6" fmla="*/ 2642 h 1720063"/>
                  <a:gd name="connsiteX7" fmla="*/ 705266 w 1306153"/>
                  <a:gd name="connsiteY7" fmla="*/ 2645 h 1720063"/>
                  <a:gd name="connsiteX8" fmla="*/ 719777 w 1306153"/>
                  <a:gd name="connsiteY8" fmla="*/ 3381 h 1720063"/>
                  <a:gd name="connsiteX9" fmla="*/ 1306153 w 1306153"/>
                  <a:gd name="connsiteY9" fmla="*/ 653851 h 1720063"/>
                  <a:gd name="connsiteX10" fmla="*/ 1280737 w 1306153"/>
                  <a:gd name="connsiteY10" fmla="*/ 844143 h 1720063"/>
                  <a:gd name="connsiteX11" fmla="*/ 1209611 w 1306153"/>
                  <a:gd name="connsiteY11" fmla="*/ 844143 h 1720063"/>
                  <a:gd name="connsiteX12" fmla="*/ 1207849 w 1306153"/>
                  <a:gd name="connsiteY12" fmla="*/ 844143 h 1720063"/>
                  <a:gd name="connsiteX13" fmla="*/ 1207823 w 1306153"/>
                  <a:gd name="connsiteY13" fmla="*/ 844193 h 1720063"/>
                  <a:gd name="connsiteX14" fmla="*/ 1280811 w 1306153"/>
                  <a:gd name="connsiteY14" fmla="*/ 844193 h 1720063"/>
                  <a:gd name="connsiteX15" fmla="*/ 1276390 w 1306153"/>
                  <a:gd name="connsiteY15" fmla="*/ 858569 h 1720063"/>
                  <a:gd name="connsiteX16" fmla="*/ 1089608 w 1306153"/>
                  <a:gd name="connsiteY16" fmla="*/ 1201397 h 1720063"/>
                  <a:gd name="connsiteX17" fmla="*/ 1086293 w 1306153"/>
                  <a:gd name="connsiteY17" fmla="*/ 1204715 h 1720063"/>
                  <a:gd name="connsiteX18" fmla="*/ 1034348 w 1306153"/>
                  <a:gd name="connsiteY18" fmla="*/ 1381659 h 1720063"/>
                  <a:gd name="connsiteX19" fmla="*/ 1019979 w 1306153"/>
                  <a:gd name="connsiteY19" fmla="*/ 1467919 h 1720063"/>
                  <a:gd name="connsiteX20" fmla="*/ 905037 w 1306153"/>
                  <a:gd name="connsiteY20" fmla="*/ 1648180 h 1720063"/>
                  <a:gd name="connsiteX21" fmla="*/ 698361 w 1306153"/>
                  <a:gd name="connsiteY21" fmla="*/ 1720063 h 1720063"/>
                  <a:gd name="connsiteX22" fmla="*/ 653755 w 1306153"/>
                  <a:gd name="connsiteY22" fmla="*/ 1720063 h 1720063"/>
                  <a:gd name="connsiteX23" fmla="*/ 653076 w 1306153"/>
                  <a:gd name="connsiteY23" fmla="*/ 1720063 h 1720063"/>
                  <a:gd name="connsiteX24" fmla="*/ 653047 w 1306153"/>
                  <a:gd name="connsiteY24" fmla="*/ 1720063 h 1720063"/>
                  <a:gd name="connsiteX25" fmla="*/ 638120 w 1306153"/>
                  <a:gd name="connsiteY25" fmla="*/ 1720063 h 1720063"/>
                  <a:gd name="connsiteX26" fmla="*/ 607765 w 1306153"/>
                  <a:gd name="connsiteY26" fmla="*/ 1720063 h 1720063"/>
                  <a:gd name="connsiteX27" fmla="*/ 401098 w 1306153"/>
                  <a:gd name="connsiteY27" fmla="*/ 1648153 h 1720063"/>
                  <a:gd name="connsiteX28" fmla="*/ 286161 w 1306153"/>
                  <a:gd name="connsiteY28" fmla="*/ 1467824 h 1720063"/>
                  <a:gd name="connsiteX29" fmla="*/ 271794 w 1306153"/>
                  <a:gd name="connsiteY29" fmla="*/ 1382637 h 1720063"/>
                  <a:gd name="connsiteX30" fmla="*/ 219851 w 1306153"/>
                  <a:gd name="connsiteY30" fmla="*/ 1204521 h 1720063"/>
                  <a:gd name="connsiteX31" fmla="*/ 217640 w 1306153"/>
                  <a:gd name="connsiteY31" fmla="*/ 1201202 h 1720063"/>
                  <a:gd name="connsiteX32" fmla="*/ 29762 w 1306153"/>
                  <a:gd name="connsiteY32" fmla="*/ 858244 h 1720063"/>
                  <a:gd name="connsiteX33" fmla="*/ 25443 w 1306153"/>
                  <a:gd name="connsiteY33" fmla="*/ 844194 h 1720063"/>
                  <a:gd name="connsiteX34" fmla="*/ 25416 w 1306153"/>
                  <a:gd name="connsiteY34" fmla="*/ 844194 h 1720063"/>
                  <a:gd name="connsiteX35" fmla="*/ 25360 w 1306153"/>
                  <a:gd name="connsiteY35" fmla="*/ 843923 h 1720063"/>
                  <a:gd name="connsiteX36" fmla="*/ 25341 w 1306153"/>
                  <a:gd name="connsiteY36" fmla="*/ 843862 h 1720063"/>
                  <a:gd name="connsiteX37" fmla="*/ 25347 w 1306153"/>
                  <a:gd name="connsiteY37" fmla="*/ 843862 h 1720063"/>
                  <a:gd name="connsiteX38" fmla="*/ 6078 w 1306153"/>
                  <a:gd name="connsiteY38" fmla="*/ 751532 h 1720063"/>
                  <a:gd name="connsiteX39" fmla="*/ 0 w 1306153"/>
                  <a:gd name="connsiteY39" fmla="*/ 653891 h 1720063"/>
                  <a:gd name="connsiteX40" fmla="*/ 176810 w 1306153"/>
                  <a:gd name="connsiteY40" fmla="*/ 205793 h 1720063"/>
                  <a:gd name="connsiteX41" fmla="*/ 608891 w 1306153"/>
                  <a:gd name="connsiteY41" fmla="*/ 1106 h 1720063"/>
                  <a:gd name="connsiteX42" fmla="*/ 630992 w 1306153"/>
                  <a:gd name="connsiteY42" fmla="*/ 0 h 1720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306153" h="1720063">
                    <a:moveTo>
                      <a:pt x="630992" y="0"/>
                    </a:moveTo>
                    <a:cubicBezTo>
                      <a:pt x="634307" y="0"/>
                      <a:pt x="637623" y="0"/>
                      <a:pt x="642043" y="0"/>
                    </a:cubicBezTo>
                    <a:cubicBezTo>
                      <a:pt x="645358" y="0"/>
                      <a:pt x="649778" y="0"/>
                      <a:pt x="653093" y="0"/>
                    </a:cubicBezTo>
                    <a:lnTo>
                      <a:pt x="653093" y="1"/>
                    </a:lnTo>
                    <a:lnTo>
                      <a:pt x="676172" y="1171"/>
                    </a:lnTo>
                    <a:lnTo>
                      <a:pt x="683220" y="479"/>
                    </a:lnTo>
                    <a:cubicBezTo>
                      <a:pt x="690659" y="479"/>
                      <a:pt x="698010" y="1212"/>
                      <a:pt x="705256" y="2642"/>
                    </a:cubicBezTo>
                    <a:lnTo>
                      <a:pt x="705266" y="2645"/>
                    </a:lnTo>
                    <a:lnTo>
                      <a:pt x="719777" y="3381"/>
                    </a:lnTo>
                    <a:cubicBezTo>
                      <a:pt x="1048779" y="36911"/>
                      <a:pt x="1306153" y="315724"/>
                      <a:pt x="1306153" y="653851"/>
                    </a:cubicBezTo>
                    <a:cubicBezTo>
                      <a:pt x="1306153" y="721338"/>
                      <a:pt x="1298418" y="783294"/>
                      <a:pt x="1280737" y="844143"/>
                    </a:cubicBezTo>
                    <a:cubicBezTo>
                      <a:pt x="1253802" y="844143"/>
                      <a:pt x="1230234" y="844143"/>
                      <a:pt x="1209611" y="844143"/>
                    </a:cubicBezTo>
                    <a:lnTo>
                      <a:pt x="1207849" y="844143"/>
                    </a:lnTo>
                    <a:lnTo>
                      <a:pt x="1207823" y="844193"/>
                    </a:lnTo>
                    <a:lnTo>
                      <a:pt x="1280811" y="844193"/>
                    </a:lnTo>
                    <a:cubicBezTo>
                      <a:pt x="1279706" y="848616"/>
                      <a:pt x="1277495" y="854146"/>
                      <a:pt x="1276390" y="858569"/>
                    </a:cubicBezTo>
                    <a:cubicBezTo>
                      <a:pt x="1239918" y="974689"/>
                      <a:pt x="1173605" y="1074219"/>
                      <a:pt x="1089608" y="1201397"/>
                    </a:cubicBezTo>
                    <a:cubicBezTo>
                      <a:pt x="1086293" y="1204715"/>
                      <a:pt x="1086293" y="1204715"/>
                      <a:pt x="1086293" y="1204715"/>
                    </a:cubicBezTo>
                    <a:cubicBezTo>
                      <a:pt x="1049821" y="1260010"/>
                      <a:pt x="1042084" y="1325258"/>
                      <a:pt x="1034348" y="1381659"/>
                    </a:cubicBezTo>
                    <a:cubicBezTo>
                      <a:pt x="1031032" y="1412624"/>
                      <a:pt x="1027716" y="1441377"/>
                      <a:pt x="1019979" y="1467919"/>
                    </a:cubicBezTo>
                    <a:cubicBezTo>
                      <a:pt x="1002296" y="1538696"/>
                      <a:pt x="961403" y="1601732"/>
                      <a:pt x="905037" y="1648180"/>
                    </a:cubicBezTo>
                    <a:cubicBezTo>
                      <a:pt x="846460" y="1694627"/>
                      <a:pt x="773516" y="1720063"/>
                      <a:pt x="698361" y="1720063"/>
                    </a:cubicBezTo>
                    <a:cubicBezTo>
                      <a:pt x="664376" y="1720063"/>
                      <a:pt x="655879" y="1720063"/>
                      <a:pt x="653755" y="1720063"/>
                    </a:cubicBezTo>
                    <a:lnTo>
                      <a:pt x="653076" y="1720063"/>
                    </a:lnTo>
                    <a:lnTo>
                      <a:pt x="653047" y="1720063"/>
                    </a:lnTo>
                    <a:lnTo>
                      <a:pt x="638120" y="1720063"/>
                    </a:lnTo>
                    <a:cubicBezTo>
                      <a:pt x="607765" y="1720063"/>
                      <a:pt x="607765" y="1720063"/>
                      <a:pt x="607765" y="1720063"/>
                    </a:cubicBezTo>
                    <a:cubicBezTo>
                      <a:pt x="532613" y="1720063"/>
                      <a:pt x="459672" y="1694618"/>
                      <a:pt x="401098" y="1648153"/>
                    </a:cubicBezTo>
                    <a:cubicBezTo>
                      <a:pt x="344734" y="1601687"/>
                      <a:pt x="303843" y="1538628"/>
                      <a:pt x="286161" y="1467824"/>
                    </a:cubicBezTo>
                    <a:cubicBezTo>
                      <a:pt x="278425" y="1441272"/>
                      <a:pt x="275109" y="1412508"/>
                      <a:pt x="271794" y="1382637"/>
                    </a:cubicBezTo>
                    <a:cubicBezTo>
                      <a:pt x="264057" y="1325109"/>
                      <a:pt x="256321" y="1259836"/>
                      <a:pt x="219851" y="1204521"/>
                    </a:cubicBezTo>
                    <a:cubicBezTo>
                      <a:pt x="217640" y="1201202"/>
                      <a:pt x="217640" y="1201202"/>
                      <a:pt x="217640" y="1201202"/>
                    </a:cubicBezTo>
                    <a:cubicBezTo>
                      <a:pt x="132542" y="1075082"/>
                      <a:pt x="66232" y="974407"/>
                      <a:pt x="29762" y="858244"/>
                    </a:cubicBezTo>
                    <a:lnTo>
                      <a:pt x="25443" y="844194"/>
                    </a:lnTo>
                    <a:lnTo>
                      <a:pt x="25416" y="844194"/>
                    </a:lnTo>
                    <a:lnTo>
                      <a:pt x="25360" y="843923"/>
                    </a:lnTo>
                    <a:lnTo>
                      <a:pt x="25341" y="843862"/>
                    </a:lnTo>
                    <a:lnTo>
                      <a:pt x="25347" y="843862"/>
                    </a:lnTo>
                    <a:lnTo>
                      <a:pt x="6078" y="751532"/>
                    </a:lnTo>
                    <a:cubicBezTo>
                      <a:pt x="1934" y="719999"/>
                      <a:pt x="0" y="687637"/>
                      <a:pt x="0" y="653891"/>
                    </a:cubicBezTo>
                    <a:cubicBezTo>
                      <a:pt x="0" y="486822"/>
                      <a:pt x="62989" y="327499"/>
                      <a:pt x="176810" y="205793"/>
                    </a:cubicBezTo>
                    <a:cubicBezTo>
                      <a:pt x="289527" y="85194"/>
                      <a:pt x="443131" y="12171"/>
                      <a:pt x="608891" y="1106"/>
                    </a:cubicBezTo>
                    <a:cubicBezTo>
                      <a:pt x="615521" y="1106"/>
                      <a:pt x="623257" y="0"/>
                      <a:pt x="630992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15" name="Freeform 10"/>
              <p:cNvSpPr>
                <a:spLocks/>
              </p:cNvSpPr>
              <p:nvPr/>
            </p:nvSpPr>
            <p:spPr bwMode="auto">
              <a:xfrm rot="8562">
                <a:off x="1398312" y="3556116"/>
                <a:ext cx="552238" cy="91864"/>
              </a:xfrm>
              <a:custGeom>
                <a:avLst/>
                <a:gdLst>
                  <a:gd name="T0" fmla="*/ 43 w 500"/>
                  <a:gd name="T1" fmla="*/ 83 h 83"/>
                  <a:gd name="T2" fmla="*/ 0 w 500"/>
                  <a:gd name="T3" fmla="*/ 42 h 83"/>
                  <a:gd name="T4" fmla="*/ 43 w 500"/>
                  <a:gd name="T5" fmla="*/ 0 h 83"/>
                  <a:gd name="T6" fmla="*/ 457 w 500"/>
                  <a:gd name="T7" fmla="*/ 0 h 83"/>
                  <a:gd name="T8" fmla="*/ 500 w 500"/>
                  <a:gd name="T9" fmla="*/ 42 h 83"/>
                  <a:gd name="T10" fmla="*/ 457 w 500"/>
                  <a:gd name="T11" fmla="*/ 83 h 83"/>
                  <a:gd name="T12" fmla="*/ 43 w 500"/>
                  <a:gd name="T13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0" h="83">
                    <a:moveTo>
                      <a:pt x="43" y="83"/>
                    </a:moveTo>
                    <a:cubicBezTo>
                      <a:pt x="19" y="83"/>
                      <a:pt x="0" y="64"/>
                      <a:pt x="0" y="42"/>
                    </a:cubicBezTo>
                    <a:cubicBezTo>
                      <a:pt x="0" y="19"/>
                      <a:pt x="19" y="0"/>
                      <a:pt x="43" y="0"/>
                    </a:cubicBezTo>
                    <a:cubicBezTo>
                      <a:pt x="457" y="0"/>
                      <a:pt x="457" y="0"/>
                      <a:pt x="457" y="0"/>
                    </a:cubicBezTo>
                    <a:cubicBezTo>
                      <a:pt x="481" y="0"/>
                      <a:pt x="500" y="19"/>
                      <a:pt x="500" y="42"/>
                    </a:cubicBezTo>
                    <a:cubicBezTo>
                      <a:pt x="500" y="64"/>
                      <a:pt x="481" y="83"/>
                      <a:pt x="457" y="83"/>
                    </a:cubicBezTo>
                    <a:lnTo>
                      <a:pt x="43" y="83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" name="Freeform 11"/>
              <p:cNvSpPr>
                <a:spLocks/>
              </p:cNvSpPr>
              <p:nvPr/>
            </p:nvSpPr>
            <p:spPr bwMode="auto">
              <a:xfrm rot="8562">
                <a:off x="1398000" y="3682295"/>
                <a:ext cx="552238" cy="90807"/>
              </a:xfrm>
              <a:custGeom>
                <a:avLst/>
                <a:gdLst>
                  <a:gd name="T0" fmla="*/ 43 w 500"/>
                  <a:gd name="T1" fmla="*/ 82 h 82"/>
                  <a:gd name="T2" fmla="*/ 0 w 500"/>
                  <a:gd name="T3" fmla="*/ 41 h 82"/>
                  <a:gd name="T4" fmla="*/ 43 w 500"/>
                  <a:gd name="T5" fmla="*/ 0 h 82"/>
                  <a:gd name="T6" fmla="*/ 457 w 500"/>
                  <a:gd name="T7" fmla="*/ 0 h 82"/>
                  <a:gd name="T8" fmla="*/ 500 w 500"/>
                  <a:gd name="T9" fmla="*/ 41 h 82"/>
                  <a:gd name="T10" fmla="*/ 457 w 500"/>
                  <a:gd name="T11" fmla="*/ 82 h 82"/>
                  <a:gd name="T12" fmla="*/ 43 w 500"/>
                  <a:gd name="T13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0" h="82">
                    <a:moveTo>
                      <a:pt x="43" y="82"/>
                    </a:moveTo>
                    <a:cubicBezTo>
                      <a:pt x="19" y="82"/>
                      <a:pt x="0" y="64"/>
                      <a:pt x="0" y="41"/>
                    </a:cubicBezTo>
                    <a:cubicBezTo>
                      <a:pt x="0" y="19"/>
                      <a:pt x="19" y="0"/>
                      <a:pt x="43" y="0"/>
                    </a:cubicBezTo>
                    <a:cubicBezTo>
                      <a:pt x="457" y="0"/>
                      <a:pt x="457" y="0"/>
                      <a:pt x="457" y="0"/>
                    </a:cubicBezTo>
                    <a:cubicBezTo>
                      <a:pt x="481" y="0"/>
                      <a:pt x="500" y="19"/>
                      <a:pt x="500" y="41"/>
                    </a:cubicBezTo>
                    <a:cubicBezTo>
                      <a:pt x="500" y="64"/>
                      <a:pt x="481" y="82"/>
                      <a:pt x="457" y="82"/>
                    </a:cubicBezTo>
                    <a:lnTo>
                      <a:pt x="43" y="8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Freeform 12"/>
              <p:cNvSpPr>
                <a:spLocks/>
              </p:cNvSpPr>
              <p:nvPr/>
            </p:nvSpPr>
            <p:spPr bwMode="auto">
              <a:xfrm rot="8562">
                <a:off x="1430419" y="3808475"/>
                <a:ext cx="486243" cy="90807"/>
              </a:xfrm>
              <a:custGeom>
                <a:avLst/>
                <a:gdLst>
                  <a:gd name="T0" fmla="*/ 43 w 440"/>
                  <a:gd name="T1" fmla="*/ 82 h 82"/>
                  <a:gd name="T2" fmla="*/ 0 w 440"/>
                  <a:gd name="T3" fmla="*/ 41 h 82"/>
                  <a:gd name="T4" fmla="*/ 43 w 440"/>
                  <a:gd name="T5" fmla="*/ 0 h 82"/>
                  <a:gd name="T6" fmla="*/ 397 w 440"/>
                  <a:gd name="T7" fmla="*/ 0 h 82"/>
                  <a:gd name="T8" fmla="*/ 440 w 440"/>
                  <a:gd name="T9" fmla="*/ 41 h 82"/>
                  <a:gd name="T10" fmla="*/ 397 w 440"/>
                  <a:gd name="T11" fmla="*/ 82 h 82"/>
                  <a:gd name="T12" fmla="*/ 43 w 440"/>
                  <a:gd name="T13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0" h="82">
                    <a:moveTo>
                      <a:pt x="43" y="82"/>
                    </a:moveTo>
                    <a:cubicBezTo>
                      <a:pt x="19" y="82"/>
                      <a:pt x="0" y="64"/>
                      <a:pt x="0" y="41"/>
                    </a:cubicBezTo>
                    <a:cubicBezTo>
                      <a:pt x="0" y="18"/>
                      <a:pt x="19" y="0"/>
                      <a:pt x="43" y="0"/>
                    </a:cubicBezTo>
                    <a:cubicBezTo>
                      <a:pt x="397" y="0"/>
                      <a:pt x="397" y="0"/>
                      <a:pt x="397" y="0"/>
                    </a:cubicBezTo>
                    <a:cubicBezTo>
                      <a:pt x="421" y="0"/>
                      <a:pt x="440" y="18"/>
                      <a:pt x="440" y="41"/>
                    </a:cubicBezTo>
                    <a:cubicBezTo>
                      <a:pt x="440" y="64"/>
                      <a:pt x="421" y="82"/>
                      <a:pt x="397" y="82"/>
                    </a:cubicBezTo>
                    <a:lnTo>
                      <a:pt x="43" y="82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13"/>
              <p:cNvSpPr>
                <a:spLocks/>
              </p:cNvSpPr>
              <p:nvPr/>
            </p:nvSpPr>
            <p:spPr bwMode="auto">
              <a:xfrm rot="8562">
                <a:off x="1536222" y="3934655"/>
                <a:ext cx="274007" cy="90807"/>
              </a:xfrm>
              <a:custGeom>
                <a:avLst/>
                <a:gdLst>
                  <a:gd name="T0" fmla="*/ 43 w 248"/>
                  <a:gd name="T1" fmla="*/ 82 h 82"/>
                  <a:gd name="T2" fmla="*/ 0 w 248"/>
                  <a:gd name="T3" fmla="*/ 41 h 82"/>
                  <a:gd name="T4" fmla="*/ 43 w 248"/>
                  <a:gd name="T5" fmla="*/ 0 h 82"/>
                  <a:gd name="T6" fmla="*/ 205 w 248"/>
                  <a:gd name="T7" fmla="*/ 0 h 82"/>
                  <a:gd name="T8" fmla="*/ 248 w 248"/>
                  <a:gd name="T9" fmla="*/ 41 h 82"/>
                  <a:gd name="T10" fmla="*/ 205 w 248"/>
                  <a:gd name="T11" fmla="*/ 82 h 82"/>
                  <a:gd name="T12" fmla="*/ 43 w 248"/>
                  <a:gd name="T13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8" h="82">
                    <a:moveTo>
                      <a:pt x="43" y="82"/>
                    </a:moveTo>
                    <a:cubicBezTo>
                      <a:pt x="19" y="82"/>
                      <a:pt x="0" y="63"/>
                      <a:pt x="0" y="41"/>
                    </a:cubicBezTo>
                    <a:cubicBezTo>
                      <a:pt x="0" y="18"/>
                      <a:pt x="19" y="0"/>
                      <a:pt x="43" y="0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29" y="0"/>
                      <a:pt x="248" y="18"/>
                      <a:pt x="248" y="41"/>
                    </a:cubicBezTo>
                    <a:cubicBezTo>
                      <a:pt x="248" y="63"/>
                      <a:pt x="229" y="82"/>
                      <a:pt x="205" y="82"/>
                    </a:cubicBezTo>
                    <a:lnTo>
                      <a:pt x="43" y="8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grpSp>
            <p:nvGrpSpPr>
              <p:cNvPr id="57" name="Clock"/>
              <p:cNvGrpSpPr>
                <a:grpSpLocks noChangeAspect="1"/>
              </p:cNvGrpSpPr>
              <p:nvPr/>
            </p:nvGrpSpPr>
            <p:grpSpPr bwMode="auto">
              <a:xfrm>
                <a:off x="1365250" y="2127250"/>
                <a:ext cx="622300" cy="622300"/>
                <a:chOff x="7062" y="-1109"/>
                <a:chExt cx="392" cy="392"/>
              </a:xfrm>
            </p:grpSpPr>
            <p:sp>
              <p:nvSpPr>
                <p:cNvPr id="58" name="Shape"/>
                <p:cNvSpPr>
                  <a:spLocks noChangeArrowheads="1"/>
                </p:cNvSpPr>
                <p:nvPr/>
              </p:nvSpPr>
              <p:spPr bwMode="auto">
                <a:xfrm>
                  <a:off x="7062" y="-1109"/>
                  <a:ext cx="392" cy="392"/>
                </a:xfrm>
                <a:prstGeom prst="ellipse">
                  <a:avLst/>
                </a:prstGeom>
                <a:solidFill>
                  <a:srgbClr val="00ACC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/>
                </a:p>
              </p:txBody>
            </p:sp>
            <p:sp>
              <p:nvSpPr>
                <p:cNvPr id="59" name="Shape"/>
                <p:cNvSpPr>
                  <a:spLocks noChangeArrowheads="1"/>
                </p:cNvSpPr>
                <p:nvPr/>
              </p:nvSpPr>
              <p:spPr bwMode="auto">
                <a:xfrm>
                  <a:off x="7102" y="-1069"/>
                  <a:ext cx="312" cy="312"/>
                </a:xfrm>
                <a:prstGeom prst="ellipse">
                  <a:avLst/>
                </a:prstGeom>
                <a:solidFill>
                  <a:srgbClr val="EEEEE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/>
                </a:p>
              </p:txBody>
            </p:sp>
            <p:sp>
              <p:nvSpPr>
                <p:cNvPr id="60" name="Shape"/>
                <p:cNvSpPr>
                  <a:spLocks noChangeArrowheads="1"/>
                </p:cNvSpPr>
                <p:nvPr/>
              </p:nvSpPr>
              <p:spPr bwMode="auto">
                <a:xfrm>
                  <a:off x="7248" y="-1040"/>
                  <a:ext cx="19" cy="127"/>
                </a:xfrm>
                <a:prstGeom prst="rect">
                  <a:avLst/>
                </a:prstGeom>
                <a:solidFill>
                  <a:srgbClr val="000000"/>
                </a:soli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/>
                </a:p>
              </p:txBody>
            </p:sp>
            <p:sp>
              <p:nvSpPr>
                <p:cNvPr id="61" name="Shape"/>
                <p:cNvSpPr>
                  <a:spLocks/>
                </p:cNvSpPr>
                <p:nvPr/>
              </p:nvSpPr>
              <p:spPr bwMode="auto">
                <a:xfrm>
                  <a:off x="7250" y="-921"/>
                  <a:ext cx="79" cy="79"/>
                </a:xfrm>
                <a:custGeom>
                  <a:avLst/>
                  <a:gdLst>
                    <a:gd name="T0" fmla="*/ 108 w 108"/>
                    <a:gd name="T1" fmla="*/ 86 h 108"/>
                    <a:gd name="T2" fmla="*/ 86 w 108"/>
                    <a:gd name="T3" fmla="*/ 108 h 108"/>
                    <a:gd name="T4" fmla="*/ 0 w 108"/>
                    <a:gd name="T5" fmla="*/ 21 h 108"/>
                    <a:gd name="T6" fmla="*/ 21 w 108"/>
                    <a:gd name="T7" fmla="*/ 0 h 108"/>
                    <a:gd name="T8" fmla="*/ 108 w 108"/>
                    <a:gd name="T9" fmla="*/ 86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8" h="108">
                      <a:moveTo>
                        <a:pt x="108" y="86"/>
                      </a:moveTo>
                      <a:lnTo>
                        <a:pt x="86" y="108"/>
                      </a:lnTo>
                      <a:lnTo>
                        <a:pt x="0" y="21"/>
                      </a:lnTo>
                      <a:lnTo>
                        <a:pt x="21" y="0"/>
                      </a:lnTo>
                      <a:lnTo>
                        <a:pt x="108" y="8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/>
                </a:p>
              </p:txBody>
            </p:sp>
            <p:sp>
              <p:nvSpPr>
                <p:cNvPr id="62" name="Shape"/>
                <p:cNvSpPr>
                  <a:spLocks noChangeArrowheads="1"/>
                </p:cNvSpPr>
                <p:nvPr/>
              </p:nvSpPr>
              <p:spPr bwMode="auto">
                <a:xfrm>
                  <a:off x="7238" y="-933"/>
                  <a:ext cx="40" cy="40"/>
                </a:xfrm>
                <a:prstGeom prst="ellipse">
                  <a:avLst/>
                </a:prstGeom>
                <a:solidFill>
                  <a:srgbClr val="0000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/>
                </a:p>
              </p:txBody>
            </p:sp>
            <p:sp>
              <p:nvSpPr>
                <p:cNvPr id="63" name="Shape"/>
                <p:cNvSpPr>
                  <a:spLocks noChangeArrowheads="1"/>
                </p:cNvSpPr>
                <p:nvPr/>
              </p:nvSpPr>
              <p:spPr bwMode="auto">
                <a:xfrm>
                  <a:off x="7248" y="-923"/>
                  <a:ext cx="19" cy="19"/>
                </a:xfrm>
                <a:prstGeom prst="ellipse">
                  <a:avLst/>
                </a:prstGeom>
                <a:solidFill>
                  <a:srgbClr val="00ACC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/>
                </a:p>
              </p:txBody>
            </p:sp>
          </p:grpSp>
        </p:grpSp>
        <p:sp>
          <p:nvSpPr>
            <p:cNvPr id="7" name="Rectangle 6"/>
            <p:cNvSpPr/>
            <p:nvPr/>
          </p:nvSpPr>
          <p:spPr>
            <a:xfrm>
              <a:off x="662286" y="1311498"/>
              <a:ext cx="1876760" cy="2019472"/>
            </a:xfrm>
            <a:prstGeom prst="rect">
              <a:avLst/>
            </a:prstGeom>
          </p:spPr>
          <p:txBody>
            <a:bodyPr wrap="none">
              <a:prstTxWarp prst="textArchUp">
                <a:avLst>
                  <a:gd name="adj" fmla="val 10459311"/>
                </a:avLst>
              </a:prstTxWarp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tx2"/>
                  </a:solidFill>
                </a:rPr>
                <a:t>DECADES OF INNOVATION </a:t>
              </a:r>
            </a:p>
          </p:txBody>
        </p:sp>
      </p:grpSp>
      <p:sp>
        <p:nvSpPr>
          <p:cNvPr id="64" name="Rectangle 63"/>
          <p:cNvSpPr/>
          <p:nvPr/>
        </p:nvSpPr>
        <p:spPr>
          <a:xfrm>
            <a:off x="273778" y="717216"/>
            <a:ext cx="35573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Solvent Based Inks serve us well</a:t>
            </a:r>
          </a:p>
        </p:txBody>
      </p:sp>
      <p:sp>
        <p:nvSpPr>
          <p:cNvPr id="65" name="Rectangle 64"/>
          <p:cNvSpPr/>
          <p:nvPr/>
        </p:nvSpPr>
        <p:spPr>
          <a:xfrm>
            <a:off x="2320224" y="2364420"/>
            <a:ext cx="2200250" cy="7162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75000"/>
              </a:lnSpc>
            </a:pPr>
            <a:r>
              <a:rPr lang="en-GB" dirty="0">
                <a:solidFill>
                  <a:schemeClr val="accent3"/>
                </a:solidFill>
              </a:rPr>
              <a:t>Now with “</a:t>
            </a:r>
            <a:r>
              <a:rPr lang="en-GB" b="1" dirty="0">
                <a:solidFill>
                  <a:schemeClr val="accent3"/>
                </a:solidFill>
              </a:rPr>
              <a:t>universal</a:t>
            </a:r>
            <a:r>
              <a:rPr lang="en-GB" dirty="0">
                <a:solidFill>
                  <a:schemeClr val="accent3"/>
                </a:solidFill>
              </a:rPr>
              <a:t>” products </a:t>
            </a:r>
          </a:p>
        </p:txBody>
      </p:sp>
      <p:sp>
        <p:nvSpPr>
          <p:cNvPr id="66" name="Rectangle 65"/>
          <p:cNvSpPr/>
          <p:nvPr/>
        </p:nvSpPr>
        <p:spPr>
          <a:xfrm>
            <a:off x="414477" y="3781840"/>
            <a:ext cx="233473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75000"/>
              </a:lnSpc>
            </a:pPr>
            <a:r>
              <a:rPr lang="en-GB" dirty="0">
                <a:solidFill>
                  <a:schemeClr val="tx2"/>
                </a:solidFill>
              </a:rPr>
              <a:t>Provide a full range of </a:t>
            </a:r>
            <a:r>
              <a:rPr lang="en-GB" b="1" dirty="0">
                <a:solidFill>
                  <a:schemeClr val="tx2"/>
                </a:solidFill>
              </a:rPr>
              <a:t>possibilities</a:t>
            </a:r>
          </a:p>
        </p:txBody>
      </p:sp>
      <p:grpSp>
        <p:nvGrpSpPr>
          <p:cNvPr id="77" name="Group 76"/>
          <p:cNvGrpSpPr/>
          <p:nvPr/>
        </p:nvGrpSpPr>
        <p:grpSpPr>
          <a:xfrm rot="593812">
            <a:off x="3894829" y="3477051"/>
            <a:ext cx="1451876" cy="1164243"/>
            <a:chOff x="5178440" y="639514"/>
            <a:chExt cx="1235518" cy="990748"/>
          </a:xfrm>
        </p:grpSpPr>
        <p:sp>
          <p:nvSpPr>
            <p:cNvPr id="73" name="Oval 72"/>
            <p:cNvSpPr/>
            <p:nvPr/>
          </p:nvSpPr>
          <p:spPr>
            <a:xfrm>
              <a:off x="5295751" y="639514"/>
              <a:ext cx="990750" cy="990748"/>
            </a:xfrm>
            <a:prstGeom prst="ellipse">
              <a:avLst/>
            </a:prstGeom>
            <a:solidFill>
              <a:schemeClr val="tx1"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6" name="TextBox 75"/>
            <p:cNvSpPr txBox="1"/>
            <p:nvPr/>
          </p:nvSpPr>
          <p:spPr>
            <a:xfrm rot="21255971">
              <a:off x="5613250" y="737641"/>
              <a:ext cx="355750" cy="747412"/>
            </a:xfrm>
            <a:custGeom>
              <a:avLst/>
              <a:gdLst/>
              <a:ahLst/>
              <a:cxnLst/>
              <a:rect l="l" t="t" r="r" b="b"/>
              <a:pathLst>
                <a:path w="429770" h="1342492">
                  <a:moveTo>
                    <a:pt x="195579" y="0"/>
                  </a:moveTo>
                  <a:cubicBezTo>
                    <a:pt x="205821" y="0"/>
                    <a:pt x="217728" y="1201"/>
                    <a:pt x="231302" y="3601"/>
                  </a:cubicBezTo>
                  <a:cubicBezTo>
                    <a:pt x="244875" y="6002"/>
                    <a:pt x="258946" y="9566"/>
                    <a:pt x="273515" y="14295"/>
                  </a:cubicBezTo>
                  <a:cubicBezTo>
                    <a:pt x="288083" y="19023"/>
                    <a:pt x="301146" y="24331"/>
                    <a:pt x="312702" y="30219"/>
                  </a:cubicBezTo>
                  <a:cubicBezTo>
                    <a:pt x="324258" y="36107"/>
                    <a:pt x="333706" y="44536"/>
                    <a:pt x="341045" y="55508"/>
                  </a:cubicBezTo>
                  <a:cubicBezTo>
                    <a:pt x="366457" y="95946"/>
                    <a:pt x="384102" y="147241"/>
                    <a:pt x="393979" y="209395"/>
                  </a:cubicBezTo>
                  <a:cubicBezTo>
                    <a:pt x="403855" y="271548"/>
                    <a:pt x="409423" y="343053"/>
                    <a:pt x="410683" y="423910"/>
                  </a:cubicBezTo>
                  <a:lnTo>
                    <a:pt x="410820" y="441108"/>
                  </a:lnTo>
                  <a:cubicBezTo>
                    <a:pt x="410820" y="452062"/>
                    <a:pt x="405576" y="460875"/>
                    <a:pt x="395088" y="467547"/>
                  </a:cubicBezTo>
                  <a:cubicBezTo>
                    <a:pt x="384599" y="474220"/>
                    <a:pt x="373267" y="477556"/>
                    <a:pt x="361090" y="477556"/>
                  </a:cubicBezTo>
                  <a:cubicBezTo>
                    <a:pt x="350246" y="472098"/>
                    <a:pt x="344824" y="465516"/>
                    <a:pt x="344824" y="457812"/>
                  </a:cubicBezTo>
                  <a:cubicBezTo>
                    <a:pt x="344824" y="450108"/>
                    <a:pt x="344824" y="443965"/>
                    <a:pt x="344824" y="439383"/>
                  </a:cubicBezTo>
                  <a:lnTo>
                    <a:pt x="344824" y="413806"/>
                  </a:lnTo>
                  <a:cubicBezTo>
                    <a:pt x="341519" y="380689"/>
                    <a:pt x="338443" y="351926"/>
                    <a:pt x="335595" y="327517"/>
                  </a:cubicBezTo>
                  <a:cubicBezTo>
                    <a:pt x="332747" y="303109"/>
                    <a:pt x="329593" y="280791"/>
                    <a:pt x="326134" y="260563"/>
                  </a:cubicBezTo>
                  <a:cubicBezTo>
                    <a:pt x="322674" y="240335"/>
                    <a:pt x="318621" y="220905"/>
                    <a:pt x="313975" y="202275"/>
                  </a:cubicBezTo>
                  <a:cubicBezTo>
                    <a:pt x="309329" y="183644"/>
                    <a:pt x="303711" y="164498"/>
                    <a:pt x="297120" y="144836"/>
                  </a:cubicBezTo>
                  <a:cubicBezTo>
                    <a:pt x="284450" y="111665"/>
                    <a:pt x="268220" y="90624"/>
                    <a:pt x="248431" y="81715"/>
                  </a:cubicBezTo>
                  <a:cubicBezTo>
                    <a:pt x="228641" y="72806"/>
                    <a:pt x="209873" y="68352"/>
                    <a:pt x="192128" y="68352"/>
                  </a:cubicBezTo>
                  <a:cubicBezTo>
                    <a:pt x="183822" y="68352"/>
                    <a:pt x="179924" y="68288"/>
                    <a:pt x="180435" y="68160"/>
                  </a:cubicBezTo>
                  <a:lnTo>
                    <a:pt x="180435" y="67886"/>
                  </a:lnTo>
                  <a:cubicBezTo>
                    <a:pt x="168404" y="72724"/>
                    <a:pt x="157998" y="78315"/>
                    <a:pt x="149217" y="84659"/>
                  </a:cubicBezTo>
                  <a:cubicBezTo>
                    <a:pt x="140436" y="91003"/>
                    <a:pt x="131276" y="100528"/>
                    <a:pt x="121737" y="113235"/>
                  </a:cubicBezTo>
                  <a:cubicBezTo>
                    <a:pt x="112198" y="125941"/>
                    <a:pt x="104056" y="141112"/>
                    <a:pt x="97310" y="158747"/>
                  </a:cubicBezTo>
                  <a:cubicBezTo>
                    <a:pt x="90564" y="176383"/>
                    <a:pt x="86635" y="197560"/>
                    <a:pt x="85521" y="222279"/>
                  </a:cubicBezTo>
                  <a:cubicBezTo>
                    <a:pt x="83422" y="240736"/>
                    <a:pt x="82372" y="257454"/>
                    <a:pt x="82372" y="272434"/>
                  </a:cubicBezTo>
                  <a:cubicBezTo>
                    <a:pt x="82372" y="287413"/>
                    <a:pt x="82372" y="299485"/>
                    <a:pt x="82372" y="308650"/>
                  </a:cubicBezTo>
                  <a:lnTo>
                    <a:pt x="82372" y="332720"/>
                  </a:lnTo>
                  <a:cubicBezTo>
                    <a:pt x="82372" y="375969"/>
                    <a:pt x="84951" y="414458"/>
                    <a:pt x="90108" y="448187"/>
                  </a:cubicBezTo>
                  <a:cubicBezTo>
                    <a:pt x="95265" y="481915"/>
                    <a:pt x="102801" y="520376"/>
                    <a:pt x="112714" y="563571"/>
                  </a:cubicBezTo>
                  <a:lnTo>
                    <a:pt x="136702" y="659471"/>
                  </a:lnTo>
                  <a:lnTo>
                    <a:pt x="136702" y="658978"/>
                  </a:lnTo>
                  <a:lnTo>
                    <a:pt x="193306" y="658978"/>
                  </a:lnTo>
                  <a:cubicBezTo>
                    <a:pt x="208915" y="658978"/>
                    <a:pt x="223077" y="658686"/>
                    <a:pt x="235793" y="658102"/>
                  </a:cubicBezTo>
                  <a:cubicBezTo>
                    <a:pt x="248508" y="657517"/>
                    <a:pt x="255770" y="657225"/>
                    <a:pt x="257577" y="657225"/>
                  </a:cubicBezTo>
                  <a:lnTo>
                    <a:pt x="266723" y="653747"/>
                  </a:lnTo>
                  <a:cubicBezTo>
                    <a:pt x="278444" y="660831"/>
                    <a:pt x="285815" y="667002"/>
                    <a:pt x="288836" y="672259"/>
                  </a:cubicBezTo>
                  <a:cubicBezTo>
                    <a:pt x="291858" y="677517"/>
                    <a:pt x="292620" y="689183"/>
                    <a:pt x="291123" y="707256"/>
                  </a:cubicBezTo>
                  <a:cubicBezTo>
                    <a:pt x="290064" y="713756"/>
                    <a:pt x="288955" y="719356"/>
                    <a:pt x="287796" y="724057"/>
                  </a:cubicBezTo>
                  <a:cubicBezTo>
                    <a:pt x="286636" y="728758"/>
                    <a:pt x="279594" y="734449"/>
                    <a:pt x="266669" y="741131"/>
                  </a:cubicBezTo>
                  <a:cubicBezTo>
                    <a:pt x="257723" y="738575"/>
                    <a:pt x="248577" y="736476"/>
                    <a:pt x="239230" y="734833"/>
                  </a:cubicBezTo>
                  <a:cubicBezTo>
                    <a:pt x="229882" y="733189"/>
                    <a:pt x="220284" y="732108"/>
                    <a:pt x="210435" y="731588"/>
                  </a:cubicBezTo>
                  <a:cubicBezTo>
                    <a:pt x="200586" y="731067"/>
                    <a:pt x="190526" y="730520"/>
                    <a:pt x="180257" y="729944"/>
                  </a:cubicBezTo>
                  <a:cubicBezTo>
                    <a:pt x="169988" y="729369"/>
                    <a:pt x="162307" y="729082"/>
                    <a:pt x="157213" y="729082"/>
                  </a:cubicBezTo>
                  <a:cubicBezTo>
                    <a:pt x="154347" y="729082"/>
                    <a:pt x="151848" y="729082"/>
                    <a:pt x="149717" y="729082"/>
                  </a:cubicBezTo>
                  <a:lnTo>
                    <a:pt x="147218" y="729082"/>
                  </a:lnTo>
                  <a:lnTo>
                    <a:pt x="147218" y="735901"/>
                  </a:lnTo>
                  <a:cubicBezTo>
                    <a:pt x="159212" y="800309"/>
                    <a:pt x="167469" y="859719"/>
                    <a:pt x="171987" y="914132"/>
                  </a:cubicBezTo>
                  <a:cubicBezTo>
                    <a:pt x="176506" y="968545"/>
                    <a:pt x="178765" y="1014016"/>
                    <a:pt x="178765" y="1050547"/>
                  </a:cubicBezTo>
                  <a:lnTo>
                    <a:pt x="178765" y="1084969"/>
                  </a:lnTo>
                  <a:cubicBezTo>
                    <a:pt x="178765" y="1091943"/>
                    <a:pt x="178473" y="1098867"/>
                    <a:pt x="177889" y="1105740"/>
                  </a:cubicBezTo>
                  <a:cubicBezTo>
                    <a:pt x="177304" y="1112614"/>
                    <a:pt x="177012" y="1120030"/>
                    <a:pt x="177012" y="1127990"/>
                  </a:cubicBezTo>
                  <a:lnTo>
                    <a:pt x="177012" y="1131139"/>
                  </a:lnTo>
                  <a:lnTo>
                    <a:pt x="174055" y="1131139"/>
                  </a:lnTo>
                  <a:cubicBezTo>
                    <a:pt x="193443" y="1137109"/>
                    <a:pt x="208627" y="1145242"/>
                    <a:pt x="219609" y="1155539"/>
                  </a:cubicBezTo>
                  <a:cubicBezTo>
                    <a:pt x="230590" y="1165835"/>
                    <a:pt x="239686" y="1177665"/>
                    <a:pt x="246897" y="1191029"/>
                  </a:cubicBezTo>
                  <a:cubicBezTo>
                    <a:pt x="257960" y="1211038"/>
                    <a:pt x="269120" y="1228139"/>
                    <a:pt x="280375" y="1242334"/>
                  </a:cubicBezTo>
                  <a:cubicBezTo>
                    <a:pt x="291630" y="1256528"/>
                    <a:pt x="304057" y="1263625"/>
                    <a:pt x="317658" y="1263625"/>
                  </a:cubicBezTo>
                  <a:cubicBezTo>
                    <a:pt x="324504" y="1263625"/>
                    <a:pt x="332752" y="1255985"/>
                    <a:pt x="342400" y="1240704"/>
                  </a:cubicBezTo>
                  <a:cubicBezTo>
                    <a:pt x="352049" y="1225424"/>
                    <a:pt x="356873" y="1196168"/>
                    <a:pt x="356873" y="1152937"/>
                  </a:cubicBezTo>
                  <a:lnTo>
                    <a:pt x="356873" y="1114654"/>
                  </a:lnTo>
                  <a:lnTo>
                    <a:pt x="381272" y="1114654"/>
                  </a:lnTo>
                  <a:cubicBezTo>
                    <a:pt x="399693" y="1114654"/>
                    <a:pt x="412381" y="1123170"/>
                    <a:pt x="419337" y="1140203"/>
                  </a:cubicBezTo>
                  <a:cubicBezTo>
                    <a:pt x="426292" y="1157237"/>
                    <a:pt x="429770" y="1169915"/>
                    <a:pt x="429770" y="1178240"/>
                  </a:cubicBezTo>
                  <a:cubicBezTo>
                    <a:pt x="428291" y="1204548"/>
                    <a:pt x="424211" y="1226825"/>
                    <a:pt x="417529" y="1245072"/>
                  </a:cubicBezTo>
                  <a:cubicBezTo>
                    <a:pt x="410847" y="1263319"/>
                    <a:pt x="402272" y="1279982"/>
                    <a:pt x="391802" y="1295062"/>
                  </a:cubicBezTo>
                  <a:cubicBezTo>
                    <a:pt x="381332" y="1310142"/>
                    <a:pt x="369556" y="1321817"/>
                    <a:pt x="356476" y="1330087"/>
                  </a:cubicBezTo>
                  <a:cubicBezTo>
                    <a:pt x="343395" y="1338357"/>
                    <a:pt x="330456" y="1342492"/>
                    <a:pt x="317658" y="1342492"/>
                  </a:cubicBezTo>
                  <a:cubicBezTo>
                    <a:pt x="310210" y="1342492"/>
                    <a:pt x="297649" y="1340516"/>
                    <a:pt x="279977" y="1336563"/>
                  </a:cubicBezTo>
                  <a:cubicBezTo>
                    <a:pt x="262305" y="1332611"/>
                    <a:pt x="249462" y="1326600"/>
                    <a:pt x="241448" y="1318531"/>
                  </a:cubicBezTo>
                  <a:cubicBezTo>
                    <a:pt x="227153" y="1304145"/>
                    <a:pt x="217600" y="1293725"/>
                    <a:pt x="212790" y="1287271"/>
                  </a:cubicBezTo>
                  <a:cubicBezTo>
                    <a:pt x="210385" y="1284045"/>
                    <a:pt x="208581" y="1280634"/>
                    <a:pt x="207378" y="1277040"/>
                  </a:cubicBezTo>
                  <a:lnTo>
                    <a:pt x="205972" y="1268204"/>
                  </a:lnTo>
                  <a:lnTo>
                    <a:pt x="194826" y="1252089"/>
                  </a:lnTo>
                  <a:cubicBezTo>
                    <a:pt x="190116" y="1245348"/>
                    <a:pt x="184908" y="1237957"/>
                    <a:pt x="179203" y="1229915"/>
                  </a:cubicBezTo>
                  <a:cubicBezTo>
                    <a:pt x="167793" y="1213831"/>
                    <a:pt x="163037" y="1205789"/>
                    <a:pt x="164936" y="1205789"/>
                  </a:cubicBezTo>
                  <a:lnTo>
                    <a:pt x="164936" y="1202366"/>
                  </a:lnTo>
                  <a:cubicBezTo>
                    <a:pt x="157067" y="1245779"/>
                    <a:pt x="144603" y="1277678"/>
                    <a:pt x="127542" y="1298061"/>
                  </a:cubicBezTo>
                  <a:cubicBezTo>
                    <a:pt x="110482" y="1318444"/>
                    <a:pt x="89802" y="1331502"/>
                    <a:pt x="65503" y="1337234"/>
                  </a:cubicBezTo>
                  <a:cubicBezTo>
                    <a:pt x="54787" y="1337234"/>
                    <a:pt x="46156" y="1333437"/>
                    <a:pt x="39611" y="1325842"/>
                  </a:cubicBezTo>
                  <a:cubicBezTo>
                    <a:pt x="33066" y="1318248"/>
                    <a:pt x="29794" y="1311046"/>
                    <a:pt x="29794" y="1304236"/>
                  </a:cubicBezTo>
                  <a:cubicBezTo>
                    <a:pt x="29794" y="1264090"/>
                    <a:pt x="36859" y="1229545"/>
                    <a:pt x="50989" y="1200600"/>
                  </a:cubicBezTo>
                  <a:cubicBezTo>
                    <a:pt x="65120" y="1171654"/>
                    <a:pt x="82007" y="1152618"/>
                    <a:pt x="101650" y="1143490"/>
                  </a:cubicBezTo>
                  <a:lnTo>
                    <a:pt x="101650" y="1137629"/>
                  </a:lnTo>
                  <a:cubicBezTo>
                    <a:pt x="101650" y="1118643"/>
                    <a:pt x="102235" y="1100300"/>
                    <a:pt x="103403" y="1082600"/>
                  </a:cubicBezTo>
                  <a:cubicBezTo>
                    <a:pt x="104571" y="1064901"/>
                    <a:pt x="105156" y="1047160"/>
                    <a:pt x="105156" y="1029379"/>
                  </a:cubicBezTo>
                  <a:cubicBezTo>
                    <a:pt x="105156" y="1000333"/>
                    <a:pt x="104585" y="974907"/>
                    <a:pt x="103444" y="953100"/>
                  </a:cubicBezTo>
                  <a:cubicBezTo>
                    <a:pt x="102303" y="931293"/>
                    <a:pt x="98784" y="905428"/>
                    <a:pt x="92887" y="875506"/>
                  </a:cubicBezTo>
                  <a:lnTo>
                    <a:pt x="75361" y="759342"/>
                  </a:lnTo>
                  <a:lnTo>
                    <a:pt x="75361" y="758383"/>
                  </a:lnTo>
                  <a:lnTo>
                    <a:pt x="70104" y="730917"/>
                  </a:lnTo>
                  <a:lnTo>
                    <a:pt x="70104" y="730834"/>
                  </a:lnTo>
                  <a:cubicBezTo>
                    <a:pt x="68935" y="730834"/>
                    <a:pt x="62929" y="730834"/>
                    <a:pt x="52085" y="730834"/>
                  </a:cubicBezTo>
                  <a:cubicBezTo>
                    <a:pt x="41241" y="730834"/>
                    <a:pt x="28388" y="729776"/>
                    <a:pt x="13528" y="727658"/>
                  </a:cubicBezTo>
                  <a:cubicBezTo>
                    <a:pt x="6974" y="710150"/>
                    <a:pt x="3373" y="698489"/>
                    <a:pt x="2724" y="692674"/>
                  </a:cubicBezTo>
                  <a:cubicBezTo>
                    <a:pt x="2076" y="686860"/>
                    <a:pt x="1168" y="673291"/>
                    <a:pt x="0" y="651967"/>
                  </a:cubicBezTo>
                  <a:lnTo>
                    <a:pt x="36804" y="651967"/>
                  </a:lnTo>
                  <a:cubicBezTo>
                    <a:pt x="56886" y="651967"/>
                    <a:pt x="62728" y="651949"/>
                    <a:pt x="54330" y="651913"/>
                  </a:cubicBezTo>
                  <a:lnTo>
                    <a:pt x="54330" y="650982"/>
                  </a:lnTo>
                  <a:cubicBezTo>
                    <a:pt x="41478" y="584638"/>
                    <a:pt x="30670" y="521120"/>
                    <a:pt x="21907" y="460427"/>
                  </a:cubicBezTo>
                  <a:cubicBezTo>
                    <a:pt x="13144" y="399735"/>
                    <a:pt x="8763" y="340972"/>
                    <a:pt x="8763" y="284140"/>
                  </a:cubicBezTo>
                  <a:lnTo>
                    <a:pt x="8763" y="262260"/>
                  </a:lnTo>
                  <a:cubicBezTo>
                    <a:pt x="11227" y="230933"/>
                    <a:pt x="14203" y="202982"/>
                    <a:pt x="17690" y="178409"/>
                  </a:cubicBezTo>
                  <a:cubicBezTo>
                    <a:pt x="21177" y="153837"/>
                    <a:pt x="27548" y="129802"/>
                    <a:pt x="36804" y="106306"/>
                  </a:cubicBezTo>
                  <a:cubicBezTo>
                    <a:pt x="44983" y="83176"/>
                    <a:pt x="55526" y="64846"/>
                    <a:pt x="68433" y="51319"/>
                  </a:cubicBezTo>
                  <a:cubicBezTo>
                    <a:pt x="81340" y="37791"/>
                    <a:pt x="95585" y="27129"/>
                    <a:pt x="111167" y="19334"/>
                  </a:cubicBezTo>
                  <a:cubicBezTo>
                    <a:pt x="126748" y="11538"/>
                    <a:pt x="141869" y="6367"/>
                    <a:pt x="156529" y="3820"/>
                  </a:cubicBezTo>
                  <a:cubicBezTo>
                    <a:pt x="171188" y="1274"/>
                    <a:pt x="184205" y="0"/>
                    <a:pt x="19557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3800" b="1" dirty="0">
                <a:latin typeface="A DAY WITHOUT SUN" panose="02000506000000020004" pitchFamily="2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 rot="21006188">
              <a:off x="5178440" y="899461"/>
              <a:ext cx="1235518" cy="4327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st effective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2890000" y="1146402"/>
            <a:ext cx="1443183" cy="1193637"/>
            <a:chOff x="2890000" y="1146402"/>
            <a:chExt cx="1443183" cy="1193637"/>
          </a:xfrm>
        </p:grpSpPr>
        <p:sp>
          <p:nvSpPr>
            <p:cNvPr id="68" name="Oval 67"/>
            <p:cNvSpPr/>
            <p:nvPr/>
          </p:nvSpPr>
          <p:spPr>
            <a:xfrm>
              <a:off x="3017807" y="1146402"/>
              <a:ext cx="1193637" cy="119363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093" name="Group 2092"/>
            <p:cNvGrpSpPr/>
            <p:nvPr/>
          </p:nvGrpSpPr>
          <p:grpSpPr>
            <a:xfrm rot="20939657">
              <a:off x="2890000" y="1445671"/>
              <a:ext cx="1443183" cy="464716"/>
              <a:chOff x="2343605" y="-1727495"/>
              <a:chExt cx="5247366" cy="1689690"/>
            </a:xfrm>
          </p:grpSpPr>
          <p:grpSp>
            <p:nvGrpSpPr>
              <p:cNvPr id="2092" name="Group 2091"/>
              <p:cNvGrpSpPr/>
              <p:nvPr/>
            </p:nvGrpSpPr>
            <p:grpSpPr>
              <a:xfrm>
                <a:off x="2343605" y="-1727495"/>
                <a:ext cx="5247366" cy="1689690"/>
                <a:chOff x="1930400" y="-1860550"/>
                <a:chExt cx="6073776" cy="1955800"/>
              </a:xfrm>
            </p:grpSpPr>
            <p:sp>
              <p:nvSpPr>
                <p:cNvPr id="114" name="Freeform 36"/>
                <p:cNvSpPr>
                  <a:spLocks/>
                </p:cNvSpPr>
                <p:nvPr/>
              </p:nvSpPr>
              <p:spPr bwMode="auto">
                <a:xfrm>
                  <a:off x="7281863" y="-1860550"/>
                  <a:ext cx="722313" cy="1955800"/>
                </a:xfrm>
                <a:custGeom>
                  <a:avLst/>
                  <a:gdLst>
                    <a:gd name="T0" fmla="*/ 201 w 217"/>
                    <a:gd name="T1" fmla="*/ 18 h 586"/>
                    <a:gd name="T2" fmla="*/ 217 w 217"/>
                    <a:gd name="T3" fmla="*/ 0 h 586"/>
                    <a:gd name="T4" fmla="*/ 3 w 217"/>
                    <a:gd name="T5" fmla="*/ 59 h 586"/>
                    <a:gd name="T6" fmla="*/ 0 w 217"/>
                    <a:gd name="T7" fmla="*/ 59 h 586"/>
                    <a:gd name="T8" fmla="*/ 0 w 217"/>
                    <a:gd name="T9" fmla="*/ 537 h 586"/>
                    <a:gd name="T10" fmla="*/ 85 w 217"/>
                    <a:gd name="T11" fmla="*/ 562 h 586"/>
                    <a:gd name="T12" fmla="*/ 208 w 217"/>
                    <a:gd name="T13" fmla="*/ 586 h 586"/>
                    <a:gd name="T14" fmla="*/ 187 w 217"/>
                    <a:gd name="T15" fmla="*/ 564 h 586"/>
                    <a:gd name="T16" fmla="*/ 212 w 217"/>
                    <a:gd name="T17" fmla="*/ 545 h 586"/>
                    <a:gd name="T18" fmla="*/ 187 w 217"/>
                    <a:gd name="T19" fmla="*/ 529 h 586"/>
                    <a:gd name="T20" fmla="*/ 217 w 217"/>
                    <a:gd name="T21" fmla="*/ 517 h 586"/>
                    <a:gd name="T22" fmla="*/ 191 w 217"/>
                    <a:gd name="T23" fmla="*/ 496 h 586"/>
                    <a:gd name="T24" fmla="*/ 217 w 217"/>
                    <a:gd name="T25" fmla="*/ 481 h 586"/>
                    <a:gd name="T26" fmla="*/ 194 w 217"/>
                    <a:gd name="T27" fmla="*/ 462 h 586"/>
                    <a:gd name="T28" fmla="*/ 217 w 217"/>
                    <a:gd name="T29" fmla="*/ 443 h 586"/>
                    <a:gd name="T30" fmla="*/ 199 w 217"/>
                    <a:gd name="T31" fmla="*/ 426 h 586"/>
                    <a:gd name="T32" fmla="*/ 217 w 217"/>
                    <a:gd name="T33" fmla="*/ 409 h 586"/>
                    <a:gd name="T34" fmla="*/ 196 w 217"/>
                    <a:gd name="T35" fmla="*/ 399 h 586"/>
                    <a:gd name="T36" fmla="*/ 217 w 217"/>
                    <a:gd name="T37" fmla="*/ 379 h 586"/>
                    <a:gd name="T38" fmla="*/ 196 w 217"/>
                    <a:gd name="T39" fmla="*/ 361 h 586"/>
                    <a:gd name="T40" fmla="*/ 217 w 217"/>
                    <a:gd name="T41" fmla="*/ 351 h 586"/>
                    <a:gd name="T42" fmla="*/ 196 w 217"/>
                    <a:gd name="T43" fmla="*/ 337 h 586"/>
                    <a:gd name="T44" fmla="*/ 217 w 217"/>
                    <a:gd name="T45" fmla="*/ 323 h 586"/>
                    <a:gd name="T46" fmla="*/ 194 w 217"/>
                    <a:gd name="T47" fmla="*/ 307 h 586"/>
                    <a:gd name="T48" fmla="*/ 217 w 217"/>
                    <a:gd name="T49" fmla="*/ 292 h 586"/>
                    <a:gd name="T50" fmla="*/ 196 w 217"/>
                    <a:gd name="T51" fmla="*/ 280 h 586"/>
                    <a:gd name="T52" fmla="*/ 217 w 217"/>
                    <a:gd name="T53" fmla="*/ 267 h 586"/>
                    <a:gd name="T54" fmla="*/ 196 w 217"/>
                    <a:gd name="T55" fmla="*/ 258 h 586"/>
                    <a:gd name="T56" fmla="*/ 217 w 217"/>
                    <a:gd name="T57" fmla="*/ 241 h 586"/>
                    <a:gd name="T58" fmla="*/ 196 w 217"/>
                    <a:gd name="T59" fmla="*/ 226 h 586"/>
                    <a:gd name="T60" fmla="*/ 217 w 217"/>
                    <a:gd name="T61" fmla="*/ 209 h 586"/>
                    <a:gd name="T62" fmla="*/ 196 w 217"/>
                    <a:gd name="T63" fmla="*/ 198 h 586"/>
                    <a:gd name="T64" fmla="*/ 217 w 217"/>
                    <a:gd name="T65" fmla="*/ 182 h 586"/>
                    <a:gd name="T66" fmla="*/ 193 w 217"/>
                    <a:gd name="T67" fmla="*/ 166 h 586"/>
                    <a:gd name="T68" fmla="*/ 217 w 217"/>
                    <a:gd name="T69" fmla="*/ 153 h 586"/>
                    <a:gd name="T70" fmla="*/ 196 w 217"/>
                    <a:gd name="T71" fmla="*/ 137 h 586"/>
                    <a:gd name="T72" fmla="*/ 217 w 217"/>
                    <a:gd name="T73" fmla="*/ 122 h 586"/>
                    <a:gd name="T74" fmla="*/ 196 w 217"/>
                    <a:gd name="T75" fmla="*/ 104 h 586"/>
                    <a:gd name="T76" fmla="*/ 217 w 217"/>
                    <a:gd name="T77" fmla="*/ 88 h 586"/>
                    <a:gd name="T78" fmla="*/ 198 w 217"/>
                    <a:gd name="T79" fmla="*/ 77 h 586"/>
                    <a:gd name="T80" fmla="*/ 217 w 217"/>
                    <a:gd name="T81" fmla="*/ 64 h 586"/>
                    <a:gd name="T82" fmla="*/ 201 w 217"/>
                    <a:gd name="T83" fmla="*/ 45 h 586"/>
                    <a:gd name="T84" fmla="*/ 217 w 217"/>
                    <a:gd name="T85" fmla="*/ 30 h 586"/>
                    <a:gd name="T86" fmla="*/ 201 w 217"/>
                    <a:gd name="T87" fmla="*/ 18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17" h="586">
                      <a:moveTo>
                        <a:pt x="201" y="18"/>
                      </a:moveTo>
                      <a:cubicBezTo>
                        <a:pt x="217" y="0"/>
                        <a:pt x="217" y="0"/>
                        <a:pt x="217" y="0"/>
                      </a:cubicBezTo>
                      <a:cubicBezTo>
                        <a:pt x="142" y="2"/>
                        <a:pt x="77" y="56"/>
                        <a:pt x="3" y="59"/>
                      </a:cubicBezTo>
                      <a:cubicBezTo>
                        <a:pt x="2" y="59"/>
                        <a:pt x="1" y="59"/>
                        <a:pt x="0" y="59"/>
                      </a:cubicBezTo>
                      <a:cubicBezTo>
                        <a:pt x="0" y="537"/>
                        <a:pt x="0" y="537"/>
                        <a:pt x="0" y="537"/>
                      </a:cubicBezTo>
                      <a:cubicBezTo>
                        <a:pt x="40" y="544"/>
                        <a:pt x="69" y="556"/>
                        <a:pt x="85" y="562"/>
                      </a:cubicBezTo>
                      <a:cubicBezTo>
                        <a:pt x="148" y="586"/>
                        <a:pt x="208" y="586"/>
                        <a:pt x="208" y="586"/>
                      </a:cubicBezTo>
                      <a:cubicBezTo>
                        <a:pt x="187" y="564"/>
                        <a:pt x="187" y="564"/>
                        <a:pt x="187" y="564"/>
                      </a:cubicBezTo>
                      <a:cubicBezTo>
                        <a:pt x="212" y="545"/>
                        <a:pt x="212" y="545"/>
                        <a:pt x="212" y="545"/>
                      </a:cubicBezTo>
                      <a:cubicBezTo>
                        <a:pt x="187" y="529"/>
                        <a:pt x="187" y="529"/>
                        <a:pt x="187" y="529"/>
                      </a:cubicBezTo>
                      <a:cubicBezTo>
                        <a:pt x="217" y="517"/>
                        <a:pt x="217" y="517"/>
                        <a:pt x="217" y="517"/>
                      </a:cubicBezTo>
                      <a:cubicBezTo>
                        <a:pt x="191" y="496"/>
                        <a:pt x="191" y="496"/>
                        <a:pt x="191" y="496"/>
                      </a:cubicBezTo>
                      <a:cubicBezTo>
                        <a:pt x="217" y="481"/>
                        <a:pt x="217" y="481"/>
                        <a:pt x="217" y="481"/>
                      </a:cubicBezTo>
                      <a:cubicBezTo>
                        <a:pt x="194" y="462"/>
                        <a:pt x="194" y="462"/>
                        <a:pt x="194" y="462"/>
                      </a:cubicBezTo>
                      <a:cubicBezTo>
                        <a:pt x="217" y="443"/>
                        <a:pt x="217" y="443"/>
                        <a:pt x="217" y="443"/>
                      </a:cubicBezTo>
                      <a:cubicBezTo>
                        <a:pt x="199" y="426"/>
                        <a:pt x="199" y="426"/>
                        <a:pt x="199" y="426"/>
                      </a:cubicBezTo>
                      <a:cubicBezTo>
                        <a:pt x="217" y="409"/>
                        <a:pt x="217" y="409"/>
                        <a:pt x="217" y="409"/>
                      </a:cubicBezTo>
                      <a:cubicBezTo>
                        <a:pt x="196" y="399"/>
                        <a:pt x="196" y="399"/>
                        <a:pt x="196" y="399"/>
                      </a:cubicBezTo>
                      <a:cubicBezTo>
                        <a:pt x="217" y="379"/>
                        <a:pt x="217" y="379"/>
                        <a:pt x="217" y="379"/>
                      </a:cubicBezTo>
                      <a:cubicBezTo>
                        <a:pt x="196" y="361"/>
                        <a:pt x="196" y="361"/>
                        <a:pt x="196" y="361"/>
                      </a:cubicBezTo>
                      <a:cubicBezTo>
                        <a:pt x="217" y="351"/>
                        <a:pt x="217" y="351"/>
                        <a:pt x="217" y="351"/>
                      </a:cubicBezTo>
                      <a:cubicBezTo>
                        <a:pt x="196" y="337"/>
                        <a:pt x="196" y="337"/>
                        <a:pt x="196" y="337"/>
                      </a:cubicBezTo>
                      <a:cubicBezTo>
                        <a:pt x="217" y="323"/>
                        <a:pt x="217" y="323"/>
                        <a:pt x="217" y="323"/>
                      </a:cubicBezTo>
                      <a:cubicBezTo>
                        <a:pt x="194" y="307"/>
                        <a:pt x="194" y="307"/>
                        <a:pt x="194" y="307"/>
                      </a:cubicBezTo>
                      <a:cubicBezTo>
                        <a:pt x="217" y="292"/>
                        <a:pt x="217" y="292"/>
                        <a:pt x="217" y="292"/>
                      </a:cubicBezTo>
                      <a:cubicBezTo>
                        <a:pt x="196" y="280"/>
                        <a:pt x="196" y="280"/>
                        <a:pt x="196" y="280"/>
                      </a:cubicBezTo>
                      <a:cubicBezTo>
                        <a:pt x="217" y="267"/>
                        <a:pt x="217" y="267"/>
                        <a:pt x="217" y="267"/>
                      </a:cubicBezTo>
                      <a:cubicBezTo>
                        <a:pt x="196" y="258"/>
                        <a:pt x="196" y="258"/>
                        <a:pt x="196" y="258"/>
                      </a:cubicBezTo>
                      <a:cubicBezTo>
                        <a:pt x="217" y="241"/>
                        <a:pt x="217" y="241"/>
                        <a:pt x="217" y="241"/>
                      </a:cubicBezTo>
                      <a:cubicBezTo>
                        <a:pt x="196" y="226"/>
                        <a:pt x="196" y="226"/>
                        <a:pt x="196" y="226"/>
                      </a:cubicBezTo>
                      <a:cubicBezTo>
                        <a:pt x="217" y="209"/>
                        <a:pt x="217" y="209"/>
                        <a:pt x="217" y="209"/>
                      </a:cubicBezTo>
                      <a:cubicBezTo>
                        <a:pt x="196" y="198"/>
                        <a:pt x="196" y="198"/>
                        <a:pt x="196" y="198"/>
                      </a:cubicBezTo>
                      <a:cubicBezTo>
                        <a:pt x="217" y="182"/>
                        <a:pt x="217" y="182"/>
                        <a:pt x="217" y="182"/>
                      </a:cubicBezTo>
                      <a:cubicBezTo>
                        <a:pt x="193" y="166"/>
                        <a:pt x="193" y="166"/>
                        <a:pt x="193" y="166"/>
                      </a:cubicBezTo>
                      <a:cubicBezTo>
                        <a:pt x="217" y="153"/>
                        <a:pt x="217" y="153"/>
                        <a:pt x="217" y="153"/>
                      </a:cubicBezTo>
                      <a:cubicBezTo>
                        <a:pt x="196" y="137"/>
                        <a:pt x="196" y="137"/>
                        <a:pt x="196" y="137"/>
                      </a:cubicBezTo>
                      <a:cubicBezTo>
                        <a:pt x="217" y="122"/>
                        <a:pt x="217" y="122"/>
                        <a:pt x="217" y="122"/>
                      </a:cubicBezTo>
                      <a:cubicBezTo>
                        <a:pt x="196" y="104"/>
                        <a:pt x="196" y="104"/>
                        <a:pt x="196" y="104"/>
                      </a:cubicBezTo>
                      <a:cubicBezTo>
                        <a:pt x="217" y="88"/>
                        <a:pt x="217" y="88"/>
                        <a:pt x="217" y="88"/>
                      </a:cubicBezTo>
                      <a:cubicBezTo>
                        <a:pt x="198" y="77"/>
                        <a:pt x="198" y="77"/>
                        <a:pt x="198" y="77"/>
                      </a:cubicBezTo>
                      <a:cubicBezTo>
                        <a:pt x="217" y="64"/>
                        <a:pt x="217" y="64"/>
                        <a:pt x="217" y="64"/>
                      </a:cubicBezTo>
                      <a:cubicBezTo>
                        <a:pt x="201" y="45"/>
                        <a:pt x="201" y="45"/>
                        <a:pt x="201" y="45"/>
                      </a:cubicBezTo>
                      <a:cubicBezTo>
                        <a:pt x="217" y="30"/>
                        <a:pt x="217" y="30"/>
                        <a:pt x="217" y="30"/>
                      </a:cubicBezTo>
                      <a:lnTo>
                        <a:pt x="201" y="1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" name="Freeform 37"/>
                <p:cNvSpPr>
                  <a:spLocks/>
                </p:cNvSpPr>
                <p:nvPr/>
              </p:nvSpPr>
              <p:spPr bwMode="auto">
                <a:xfrm>
                  <a:off x="7299325" y="-1670050"/>
                  <a:ext cx="57150" cy="1617663"/>
                </a:xfrm>
                <a:custGeom>
                  <a:avLst/>
                  <a:gdLst>
                    <a:gd name="T0" fmla="*/ 8 w 17"/>
                    <a:gd name="T1" fmla="*/ 1 h 485"/>
                    <a:gd name="T2" fmla="*/ 0 w 17"/>
                    <a:gd name="T3" fmla="*/ 2 h 485"/>
                    <a:gd name="T4" fmla="*/ 0 w 17"/>
                    <a:gd name="T5" fmla="*/ 481 h 485"/>
                    <a:gd name="T6" fmla="*/ 17 w 17"/>
                    <a:gd name="T7" fmla="*/ 484 h 485"/>
                    <a:gd name="T8" fmla="*/ 17 w 17"/>
                    <a:gd name="T9" fmla="*/ 485 h 485"/>
                    <a:gd name="T10" fmla="*/ 17 w 17"/>
                    <a:gd name="T11" fmla="*/ 0 h 485"/>
                    <a:gd name="T12" fmla="*/ 17 w 17"/>
                    <a:gd name="T13" fmla="*/ 0 h 485"/>
                    <a:gd name="T14" fmla="*/ 9 w 17"/>
                    <a:gd name="T15" fmla="*/ 1 h 485"/>
                    <a:gd name="T16" fmla="*/ 8 w 17"/>
                    <a:gd name="T17" fmla="*/ 1 h 4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485">
                      <a:moveTo>
                        <a:pt x="8" y="1"/>
                      </a:moveTo>
                      <a:cubicBezTo>
                        <a:pt x="6" y="2"/>
                        <a:pt x="3" y="2"/>
                        <a:pt x="0" y="2"/>
                      </a:cubicBezTo>
                      <a:cubicBezTo>
                        <a:pt x="0" y="481"/>
                        <a:pt x="0" y="481"/>
                        <a:pt x="0" y="481"/>
                      </a:cubicBezTo>
                      <a:cubicBezTo>
                        <a:pt x="6" y="482"/>
                        <a:pt x="11" y="483"/>
                        <a:pt x="17" y="484"/>
                      </a:cubicBezTo>
                      <a:cubicBezTo>
                        <a:pt x="17" y="485"/>
                        <a:pt x="17" y="485"/>
                        <a:pt x="17" y="485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4" y="1"/>
                        <a:pt x="12" y="1"/>
                        <a:pt x="9" y="1"/>
                      </a:cubicBezTo>
                      <a:cubicBezTo>
                        <a:pt x="9" y="1"/>
                        <a:pt x="9" y="1"/>
                        <a:pt x="8" y="1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" name="Freeform 38"/>
                <p:cNvSpPr>
                  <a:spLocks/>
                </p:cNvSpPr>
                <p:nvPr/>
              </p:nvSpPr>
              <p:spPr bwMode="auto">
                <a:xfrm>
                  <a:off x="7372350" y="-1682750"/>
                  <a:ext cx="57150" cy="1647825"/>
                </a:xfrm>
                <a:custGeom>
                  <a:avLst/>
                  <a:gdLst>
                    <a:gd name="T0" fmla="*/ 0 w 17"/>
                    <a:gd name="T1" fmla="*/ 490 h 494"/>
                    <a:gd name="T2" fmla="*/ 17 w 17"/>
                    <a:gd name="T3" fmla="*/ 494 h 494"/>
                    <a:gd name="T4" fmla="*/ 17 w 17"/>
                    <a:gd name="T5" fmla="*/ 0 h 494"/>
                    <a:gd name="T6" fmla="*/ 0 w 17"/>
                    <a:gd name="T7" fmla="*/ 3 h 494"/>
                    <a:gd name="T8" fmla="*/ 0 w 17"/>
                    <a:gd name="T9" fmla="*/ 490 h 4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494">
                      <a:moveTo>
                        <a:pt x="0" y="490"/>
                      </a:moveTo>
                      <a:cubicBezTo>
                        <a:pt x="6" y="491"/>
                        <a:pt x="12" y="493"/>
                        <a:pt x="17" y="494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1" y="1"/>
                        <a:pt x="6" y="2"/>
                        <a:pt x="0" y="3"/>
                      </a:cubicBezTo>
                      <a:lnTo>
                        <a:pt x="0" y="490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" name="Freeform 39"/>
                <p:cNvSpPr>
                  <a:spLocks/>
                </p:cNvSpPr>
                <p:nvPr/>
              </p:nvSpPr>
              <p:spPr bwMode="auto">
                <a:xfrm>
                  <a:off x="7445375" y="-1706563"/>
                  <a:ext cx="57150" cy="1698625"/>
                </a:xfrm>
                <a:custGeom>
                  <a:avLst/>
                  <a:gdLst>
                    <a:gd name="T0" fmla="*/ 0 w 17"/>
                    <a:gd name="T1" fmla="*/ 503 h 509"/>
                    <a:gd name="T2" fmla="*/ 17 w 17"/>
                    <a:gd name="T3" fmla="*/ 509 h 509"/>
                    <a:gd name="T4" fmla="*/ 17 w 17"/>
                    <a:gd name="T5" fmla="*/ 0 h 509"/>
                    <a:gd name="T6" fmla="*/ 0 w 17"/>
                    <a:gd name="T7" fmla="*/ 5 h 509"/>
                    <a:gd name="T8" fmla="*/ 0 w 17"/>
                    <a:gd name="T9" fmla="*/ 503 h 5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509">
                      <a:moveTo>
                        <a:pt x="0" y="503"/>
                      </a:moveTo>
                      <a:cubicBezTo>
                        <a:pt x="6" y="505"/>
                        <a:pt x="12" y="507"/>
                        <a:pt x="17" y="509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1" y="2"/>
                        <a:pt x="6" y="4"/>
                        <a:pt x="0" y="5"/>
                      </a:cubicBezTo>
                      <a:lnTo>
                        <a:pt x="0" y="503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" name="Freeform 40"/>
                <p:cNvSpPr>
                  <a:spLocks/>
                </p:cNvSpPr>
                <p:nvPr/>
              </p:nvSpPr>
              <p:spPr bwMode="auto">
                <a:xfrm>
                  <a:off x="7518400" y="-1733550"/>
                  <a:ext cx="57150" cy="1752600"/>
                </a:xfrm>
                <a:custGeom>
                  <a:avLst/>
                  <a:gdLst>
                    <a:gd name="T0" fmla="*/ 0 w 17"/>
                    <a:gd name="T1" fmla="*/ 518 h 525"/>
                    <a:gd name="T2" fmla="*/ 14 w 17"/>
                    <a:gd name="T3" fmla="*/ 524 h 525"/>
                    <a:gd name="T4" fmla="*/ 17 w 17"/>
                    <a:gd name="T5" fmla="*/ 525 h 525"/>
                    <a:gd name="T6" fmla="*/ 17 w 17"/>
                    <a:gd name="T7" fmla="*/ 0 h 525"/>
                    <a:gd name="T8" fmla="*/ 0 w 17"/>
                    <a:gd name="T9" fmla="*/ 6 h 525"/>
                    <a:gd name="T10" fmla="*/ 0 w 17"/>
                    <a:gd name="T11" fmla="*/ 518 h 5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525">
                      <a:moveTo>
                        <a:pt x="0" y="518"/>
                      </a:moveTo>
                      <a:cubicBezTo>
                        <a:pt x="5" y="520"/>
                        <a:pt x="10" y="522"/>
                        <a:pt x="14" y="524"/>
                      </a:cubicBezTo>
                      <a:cubicBezTo>
                        <a:pt x="15" y="524"/>
                        <a:pt x="16" y="525"/>
                        <a:pt x="17" y="525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1" y="2"/>
                        <a:pt x="6" y="4"/>
                        <a:pt x="0" y="6"/>
                      </a:cubicBezTo>
                      <a:lnTo>
                        <a:pt x="0" y="518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" name="Freeform 41"/>
                <p:cNvSpPr>
                  <a:spLocks/>
                </p:cNvSpPr>
                <p:nvPr/>
              </p:nvSpPr>
              <p:spPr bwMode="auto">
                <a:xfrm>
                  <a:off x="7591425" y="-1763713"/>
                  <a:ext cx="57150" cy="1804988"/>
                </a:xfrm>
                <a:custGeom>
                  <a:avLst/>
                  <a:gdLst>
                    <a:gd name="T0" fmla="*/ 0 w 17"/>
                    <a:gd name="T1" fmla="*/ 536 h 541"/>
                    <a:gd name="T2" fmla="*/ 17 w 17"/>
                    <a:gd name="T3" fmla="*/ 541 h 541"/>
                    <a:gd name="T4" fmla="*/ 17 w 17"/>
                    <a:gd name="T5" fmla="*/ 0 h 541"/>
                    <a:gd name="T6" fmla="*/ 0 w 17"/>
                    <a:gd name="T7" fmla="*/ 7 h 541"/>
                    <a:gd name="T8" fmla="*/ 0 w 17"/>
                    <a:gd name="T9" fmla="*/ 536 h 5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541">
                      <a:moveTo>
                        <a:pt x="0" y="536"/>
                      </a:moveTo>
                      <a:cubicBezTo>
                        <a:pt x="6" y="538"/>
                        <a:pt x="11" y="540"/>
                        <a:pt x="17" y="541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1" y="3"/>
                        <a:pt x="6" y="5"/>
                        <a:pt x="0" y="7"/>
                      </a:cubicBezTo>
                      <a:lnTo>
                        <a:pt x="0" y="536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" name="Freeform 42"/>
                <p:cNvSpPr>
                  <a:spLocks/>
                </p:cNvSpPr>
                <p:nvPr/>
              </p:nvSpPr>
              <p:spPr bwMode="auto">
                <a:xfrm>
                  <a:off x="1930400" y="-1857375"/>
                  <a:ext cx="720725" cy="1943100"/>
                </a:xfrm>
                <a:custGeom>
                  <a:avLst/>
                  <a:gdLst>
                    <a:gd name="T0" fmla="*/ 16 w 217"/>
                    <a:gd name="T1" fmla="*/ 19 h 582"/>
                    <a:gd name="T2" fmla="*/ 0 w 217"/>
                    <a:gd name="T3" fmla="*/ 0 h 582"/>
                    <a:gd name="T4" fmla="*/ 215 w 217"/>
                    <a:gd name="T5" fmla="*/ 59 h 582"/>
                    <a:gd name="T6" fmla="*/ 217 w 217"/>
                    <a:gd name="T7" fmla="*/ 59 h 582"/>
                    <a:gd name="T8" fmla="*/ 217 w 217"/>
                    <a:gd name="T9" fmla="*/ 533 h 582"/>
                    <a:gd name="T10" fmla="*/ 132 w 217"/>
                    <a:gd name="T11" fmla="*/ 558 h 582"/>
                    <a:gd name="T12" fmla="*/ 9 w 217"/>
                    <a:gd name="T13" fmla="*/ 582 h 582"/>
                    <a:gd name="T14" fmla="*/ 30 w 217"/>
                    <a:gd name="T15" fmla="*/ 560 h 582"/>
                    <a:gd name="T16" fmla="*/ 6 w 217"/>
                    <a:gd name="T17" fmla="*/ 541 h 582"/>
                    <a:gd name="T18" fmla="*/ 30 w 217"/>
                    <a:gd name="T19" fmla="*/ 525 h 582"/>
                    <a:gd name="T20" fmla="*/ 0 w 217"/>
                    <a:gd name="T21" fmla="*/ 513 h 582"/>
                    <a:gd name="T22" fmla="*/ 26 w 217"/>
                    <a:gd name="T23" fmla="*/ 492 h 582"/>
                    <a:gd name="T24" fmla="*/ 0 w 217"/>
                    <a:gd name="T25" fmla="*/ 477 h 582"/>
                    <a:gd name="T26" fmla="*/ 23 w 217"/>
                    <a:gd name="T27" fmla="*/ 459 h 582"/>
                    <a:gd name="T28" fmla="*/ 0 w 217"/>
                    <a:gd name="T29" fmla="*/ 440 h 582"/>
                    <a:gd name="T30" fmla="*/ 18 w 217"/>
                    <a:gd name="T31" fmla="*/ 423 h 582"/>
                    <a:gd name="T32" fmla="*/ 0 w 217"/>
                    <a:gd name="T33" fmla="*/ 406 h 582"/>
                    <a:gd name="T34" fmla="*/ 21 w 217"/>
                    <a:gd name="T35" fmla="*/ 396 h 582"/>
                    <a:gd name="T36" fmla="*/ 0 w 217"/>
                    <a:gd name="T37" fmla="*/ 377 h 582"/>
                    <a:gd name="T38" fmla="*/ 21 w 217"/>
                    <a:gd name="T39" fmla="*/ 359 h 582"/>
                    <a:gd name="T40" fmla="*/ 0 w 217"/>
                    <a:gd name="T41" fmla="*/ 348 h 582"/>
                    <a:gd name="T42" fmla="*/ 21 w 217"/>
                    <a:gd name="T43" fmla="*/ 334 h 582"/>
                    <a:gd name="T44" fmla="*/ 0 w 217"/>
                    <a:gd name="T45" fmla="*/ 320 h 582"/>
                    <a:gd name="T46" fmla="*/ 24 w 217"/>
                    <a:gd name="T47" fmla="*/ 305 h 582"/>
                    <a:gd name="T48" fmla="*/ 0 w 217"/>
                    <a:gd name="T49" fmla="*/ 290 h 582"/>
                    <a:gd name="T50" fmla="*/ 21 w 217"/>
                    <a:gd name="T51" fmla="*/ 278 h 582"/>
                    <a:gd name="T52" fmla="*/ 0 w 217"/>
                    <a:gd name="T53" fmla="*/ 265 h 582"/>
                    <a:gd name="T54" fmla="*/ 21 w 217"/>
                    <a:gd name="T55" fmla="*/ 256 h 582"/>
                    <a:gd name="T56" fmla="*/ 0 w 217"/>
                    <a:gd name="T57" fmla="*/ 240 h 582"/>
                    <a:gd name="T58" fmla="*/ 22 w 217"/>
                    <a:gd name="T59" fmla="*/ 224 h 582"/>
                    <a:gd name="T60" fmla="*/ 0 w 217"/>
                    <a:gd name="T61" fmla="*/ 208 h 582"/>
                    <a:gd name="T62" fmla="*/ 22 w 217"/>
                    <a:gd name="T63" fmla="*/ 197 h 582"/>
                    <a:gd name="T64" fmla="*/ 0 w 217"/>
                    <a:gd name="T65" fmla="*/ 181 h 582"/>
                    <a:gd name="T66" fmla="*/ 24 w 217"/>
                    <a:gd name="T67" fmla="*/ 165 h 582"/>
                    <a:gd name="T68" fmla="*/ 0 w 217"/>
                    <a:gd name="T69" fmla="*/ 152 h 582"/>
                    <a:gd name="T70" fmla="*/ 21 w 217"/>
                    <a:gd name="T71" fmla="*/ 136 h 582"/>
                    <a:gd name="T72" fmla="*/ 0 w 217"/>
                    <a:gd name="T73" fmla="*/ 122 h 582"/>
                    <a:gd name="T74" fmla="*/ 21 w 217"/>
                    <a:gd name="T75" fmla="*/ 104 h 582"/>
                    <a:gd name="T76" fmla="*/ 0 w 217"/>
                    <a:gd name="T77" fmla="*/ 88 h 582"/>
                    <a:gd name="T78" fmla="*/ 20 w 217"/>
                    <a:gd name="T79" fmla="*/ 77 h 582"/>
                    <a:gd name="T80" fmla="*/ 0 w 217"/>
                    <a:gd name="T81" fmla="*/ 64 h 582"/>
                    <a:gd name="T82" fmla="*/ 16 w 217"/>
                    <a:gd name="T83" fmla="*/ 45 h 582"/>
                    <a:gd name="T84" fmla="*/ 0 w 217"/>
                    <a:gd name="T85" fmla="*/ 30 h 582"/>
                    <a:gd name="T86" fmla="*/ 16 w 217"/>
                    <a:gd name="T87" fmla="*/ 19 h 5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17" h="582">
                      <a:moveTo>
                        <a:pt x="16" y="19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5" y="3"/>
                        <a:pt x="140" y="56"/>
                        <a:pt x="215" y="59"/>
                      </a:cubicBezTo>
                      <a:cubicBezTo>
                        <a:pt x="216" y="59"/>
                        <a:pt x="216" y="59"/>
                        <a:pt x="217" y="59"/>
                      </a:cubicBezTo>
                      <a:cubicBezTo>
                        <a:pt x="217" y="533"/>
                        <a:pt x="217" y="533"/>
                        <a:pt x="217" y="533"/>
                      </a:cubicBezTo>
                      <a:cubicBezTo>
                        <a:pt x="177" y="540"/>
                        <a:pt x="148" y="552"/>
                        <a:pt x="132" y="558"/>
                      </a:cubicBezTo>
                      <a:cubicBezTo>
                        <a:pt x="69" y="582"/>
                        <a:pt x="9" y="582"/>
                        <a:pt x="9" y="582"/>
                      </a:cubicBezTo>
                      <a:cubicBezTo>
                        <a:pt x="30" y="560"/>
                        <a:pt x="30" y="560"/>
                        <a:pt x="30" y="560"/>
                      </a:cubicBezTo>
                      <a:cubicBezTo>
                        <a:pt x="6" y="541"/>
                        <a:pt x="6" y="541"/>
                        <a:pt x="6" y="541"/>
                      </a:cubicBezTo>
                      <a:cubicBezTo>
                        <a:pt x="30" y="525"/>
                        <a:pt x="30" y="525"/>
                        <a:pt x="30" y="525"/>
                      </a:cubicBezTo>
                      <a:cubicBezTo>
                        <a:pt x="0" y="513"/>
                        <a:pt x="0" y="513"/>
                        <a:pt x="0" y="513"/>
                      </a:cubicBezTo>
                      <a:cubicBezTo>
                        <a:pt x="26" y="492"/>
                        <a:pt x="26" y="492"/>
                        <a:pt x="26" y="492"/>
                      </a:cubicBezTo>
                      <a:cubicBezTo>
                        <a:pt x="0" y="477"/>
                        <a:pt x="0" y="477"/>
                        <a:pt x="0" y="477"/>
                      </a:cubicBezTo>
                      <a:cubicBezTo>
                        <a:pt x="23" y="459"/>
                        <a:pt x="23" y="459"/>
                        <a:pt x="23" y="459"/>
                      </a:cubicBezTo>
                      <a:cubicBezTo>
                        <a:pt x="0" y="440"/>
                        <a:pt x="0" y="440"/>
                        <a:pt x="0" y="440"/>
                      </a:cubicBezTo>
                      <a:cubicBezTo>
                        <a:pt x="18" y="423"/>
                        <a:pt x="18" y="423"/>
                        <a:pt x="18" y="423"/>
                      </a:cubicBezTo>
                      <a:cubicBezTo>
                        <a:pt x="0" y="406"/>
                        <a:pt x="0" y="406"/>
                        <a:pt x="0" y="406"/>
                      </a:cubicBezTo>
                      <a:cubicBezTo>
                        <a:pt x="21" y="396"/>
                        <a:pt x="21" y="396"/>
                        <a:pt x="21" y="396"/>
                      </a:cubicBezTo>
                      <a:cubicBezTo>
                        <a:pt x="0" y="377"/>
                        <a:pt x="0" y="377"/>
                        <a:pt x="0" y="377"/>
                      </a:cubicBezTo>
                      <a:cubicBezTo>
                        <a:pt x="21" y="359"/>
                        <a:pt x="21" y="359"/>
                        <a:pt x="21" y="359"/>
                      </a:cubicBezTo>
                      <a:cubicBezTo>
                        <a:pt x="0" y="348"/>
                        <a:pt x="0" y="348"/>
                        <a:pt x="0" y="348"/>
                      </a:cubicBezTo>
                      <a:cubicBezTo>
                        <a:pt x="21" y="334"/>
                        <a:pt x="21" y="334"/>
                        <a:pt x="21" y="334"/>
                      </a:cubicBezTo>
                      <a:cubicBezTo>
                        <a:pt x="0" y="320"/>
                        <a:pt x="0" y="320"/>
                        <a:pt x="0" y="320"/>
                      </a:cubicBezTo>
                      <a:cubicBezTo>
                        <a:pt x="24" y="305"/>
                        <a:pt x="24" y="305"/>
                        <a:pt x="24" y="305"/>
                      </a:cubicBezTo>
                      <a:cubicBezTo>
                        <a:pt x="0" y="290"/>
                        <a:pt x="0" y="290"/>
                        <a:pt x="0" y="290"/>
                      </a:cubicBezTo>
                      <a:cubicBezTo>
                        <a:pt x="21" y="278"/>
                        <a:pt x="21" y="278"/>
                        <a:pt x="21" y="278"/>
                      </a:cubicBezTo>
                      <a:cubicBezTo>
                        <a:pt x="0" y="265"/>
                        <a:pt x="0" y="265"/>
                        <a:pt x="0" y="265"/>
                      </a:cubicBezTo>
                      <a:cubicBezTo>
                        <a:pt x="21" y="256"/>
                        <a:pt x="21" y="256"/>
                        <a:pt x="21" y="256"/>
                      </a:cubicBezTo>
                      <a:cubicBezTo>
                        <a:pt x="0" y="240"/>
                        <a:pt x="0" y="240"/>
                        <a:pt x="0" y="240"/>
                      </a:cubicBezTo>
                      <a:cubicBezTo>
                        <a:pt x="22" y="224"/>
                        <a:pt x="22" y="224"/>
                        <a:pt x="22" y="224"/>
                      </a:cubicBezTo>
                      <a:cubicBezTo>
                        <a:pt x="0" y="208"/>
                        <a:pt x="0" y="208"/>
                        <a:pt x="0" y="208"/>
                      </a:cubicBezTo>
                      <a:cubicBezTo>
                        <a:pt x="22" y="197"/>
                        <a:pt x="22" y="197"/>
                        <a:pt x="22" y="197"/>
                      </a:cubicBezTo>
                      <a:cubicBezTo>
                        <a:pt x="0" y="181"/>
                        <a:pt x="0" y="181"/>
                        <a:pt x="0" y="181"/>
                      </a:cubicBezTo>
                      <a:cubicBezTo>
                        <a:pt x="24" y="165"/>
                        <a:pt x="24" y="165"/>
                        <a:pt x="24" y="165"/>
                      </a:cubicBezTo>
                      <a:cubicBezTo>
                        <a:pt x="0" y="152"/>
                        <a:pt x="0" y="152"/>
                        <a:pt x="0" y="152"/>
                      </a:cubicBezTo>
                      <a:cubicBezTo>
                        <a:pt x="21" y="136"/>
                        <a:pt x="21" y="136"/>
                        <a:pt x="21" y="136"/>
                      </a:cubicBezTo>
                      <a:cubicBezTo>
                        <a:pt x="0" y="122"/>
                        <a:pt x="0" y="122"/>
                        <a:pt x="0" y="122"/>
                      </a:cubicBezTo>
                      <a:cubicBezTo>
                        <a:pt x="21" y="104"/>
                        <a:pt x="21" y="104"/>
                        <a:pt x="21" y="104"/>
                      </a:cubicBezTo>
                      <a:cubicBezTo>
                        <a:pt x="0" y="88"/>
                        <a:pt x="0" y="88"/>
                        <a:pt x="0" y="88"/>
                      </a:cubicBezTo>
                      <a:cubicBezTo>
                        <a:pt x="20" y="77"/>
                        <a:pt x="20" y="77"/>
                        <a:pt x="20" y="77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16" y="45"/>
                        <a:pt x="16" y="45"/>
                        <a:pt x="16" y="45"/>
                      </a:cubicBezTo>
                      <a:cubicBezTo>
                        <a:pt x="0" y="30"/>
                        <a:pt x="0" y="30"/>
                        <a:pt x="0" y="30"/>
                      </a:cubicBezTo>
                      <a:lnTo>
                        <a:pt x="16" y="1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" name="Freeform 43"/>
                <p:cNvSpPr>
                  <a:spLocks/>
                </p:cNvSpPr>
                <p:nvPr/>
              </p:nvSpPr>
              <p:spPr bwMode="auto">
                <a:xfrm>
                  <a:off x="2578100" y="-1666875"/>
                  <a:ext cx="57150" cy="1604963"/>
                </a:xfrm>
                <a:custGeom>
                  <a:avLst/>
                  <a:gdLst>
                    <a:gd name="T0" fmla="*/ 9 w 17"/>
                    <a:gd name="T1" fmla="*/ 1 h 481"/>
                    <a:gd name="T2" fmla="*/ 17 w 17"/>
                    <a:gd name="T3" fmla="*/ 2 h 481"/>
                    <a:gd name="T4" fmla="*/ 17 w 17"/>
                    <a:gd name="T5" fmla="*/ 477 h 481"/>
                    <a:gd name="T6" fmla="*/ 0 w 17"/>
                    <a:gd name="T7" fmla="*/ 481 h 481"/>
                    <a:gd name="T8" fmla="*/ 0 w 17"/>
                    <a:gd name="T9" fmla="*/ 481 h 481"/>
                    <a:gd name="T10" fmla="*/ 0 w 17"/>
                    <a:gd name="T11" fmla="*/ 0 h 481"/>
                    <a:gd name="T12" fmla="*/ 0 w 17"/>
                    <a:gd name="T13" fmla="*/ 0 h 481"/>
                    <a:gd name="T14" fmla="*/ 8 w 17"/>
                    <a:gd name="T15" fmla="*/ 1 h 481"/>
                    <a:gd name="T16" fmla="*/ 9 w 17"/>
                    <a:gd name="T17" fmla="*/ 1 h 4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" h="481">
                      <a:moveTo>
                        <a:pt x="9" y="1"/>
                      </a:moveTo>
                      <a:cubicBezTo>
                        <a:pt x="12" y="1"/>
                        <a:pt x="14" y="2"/>
                        <a:pt x="17" y="2"/>
                      </a:cubicBezTo>
                      <a:cubicBezTo>
                        <a:pt x="17" y="477"/>
                        <a:pt x="17" y="477"/>
                        <a:pt x="17" y="477"/>
                      </a:cubicBezTo>
                      <a:cubicBezTo>
                        <a:pt x="11" y="478"/>
                        <a:pt x="6" y="479"/>
                        <a:pt x="0" y="481"/>
                      </a:cubicBezTo>
                      <a:cubicBezTo>
                        <a:pt x="0" y="481"/>
                        <a:pt x="0" y="481"/>
                        <a:pt x="0" y="48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0"/>
                        <a:pt x="6" y="1"/>
                        <a:pt x="8" y="1"/>
                      </a:cubicBezTo>
                      <a:cubicBezTo>
                        <a:pt x="8" y="1"/>
                        <a:pt x="9" y="1"/>
                        <a:pt x="9" y="1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" name="Freeform 44"/>
                <p:cNvSpPr>
                  <a:spLocks/>
                </p:cNvSpPr>
                <p:nvPr/>
              </p:nvSpPr>
              <p:spPr bwMode="auto">
                <a:xfrm>
                  <a:off x="2505075" y="-1679575"/>
                  <a:ext cx="57150" cy="1635125"/>
                </a:xfrm>
                <a:custGeom>
                  <a:avLst/>
                  <a:gdLst>
                    <a:gd name="T0" fmla="*/ 17 w 17"/>
                    <a:gd name="T1" fmla="*/ 486 h 490"/>
                    <a:gd name="T2" fmla="*/ 0 w 17"/>
                    <a:gd name="T3" fmla="*/ 490 h 490"/>
                    <a:gd name="T4" fmla="*/ 0 w 17"/>
                    <a:gd name="T5" fmla="*/ 0 h 490"/>
                    <a:gd name="T6" fmla="*/ 17 w 17"/>
                    <a:gd name="T7" fmla="*/ 3 h 490"/>
                    <a:gd name="T8" fmla="*/ 17 w 17"/>
                    <a:gd name="T9" fmla="*/ 486 h 4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490">
                      <a:moveTo>
                        <a:pt x="17" y="486"/>
                      </a:moveTo>
                      <a:cubicBezTo>
                        <a:pt x="11" y="487"/>
                        <a:pt x="5" y="489"/>
                        <a:pt x="0" y="49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6" y="1"/>
                        <a:pt x="11" y="2"/>
                        <a:pt x="17" y="3"/>
                      </a:cubicBezTo>
                      <a:lnTo>
                        <a:pt x="17" y="486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" name="Freeform 45"/>
                <p:cNvSpPr>
                  <a:spLocks/>
                </p:cNvSpPr>
                <p:nvPr/>
              </p:nvSpPr>
              <p:spPr bwMode="auto">
                <a:xfrm>
                  <a:off x="2432050" y="-1703388"/>
                  <a:ext cx="57150" cy="1684338"/>
                </a:xfrm>
                <a:custGeom>
                  <a:avLst/>
                  <a:gdLst>
                    <a:gd name="T0" fmla="*/ 17 w 17"/>
                    <a:gd name="T1" fmla="*/ 499 h 505"/>
                    <a:gd name="T2" fmla="*/ 0 w 17"/>
                    <a:gd name="T3" fmla="*/ 505 h 505"/>
                    <a:gd name="T4" fmla="*/ 0 w 17"/>
                    <a:gd name="T5" fmla="*/ 0 h 505"/>
                    <a:gd name="T6" fmla="*/ 17 w 17"/>
                    <a:gd name="T7" fmla="*/ 5 h 505"/>
                    <a:gd name="T8" fmla="*/ 17 w 17"/>
                    <a:gd name="T9" fmla="*/ 499 h 5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505">
                      <a:moveTo>
                        <a:pt x="17" y="499"/>
                      </a:moveTo>
                      <a:cubicBezTo>
                        <a:pt x="11" y="501"/>
                        <a:pt x="5" y="503"/>
                        <a:pt x="0" y="505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6" y="2"/>
                        <a:pt x="11" y="4"/>
                        <a:pt x="17" y="5"/>
                      </a:cubicBezTo>
                      <a:lnTo>
                        <a:pt x="17" y="499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" name="Freeform 46"/>
                <p:cNvSpPr>
                  <a:spLocks/>
                </p:cNvSpPr>
                <p:nvPr/>
              </p:nvSpPr>
              <p:spPr bwMode="auto">
                <a:xfrm>
                  <a:off x="2359025" y="-1730375"/>
                  <a:ext cx="57150" cy="1738313"/>
                </a:xfrm>
                <a:custGeom>
                  <a:avLst/>
                  <a:gdLst>
                    <a:gd name="T0" fmla="*/ 17 w 17"/>
                    <a:gd name="T1" fmla="*/ 514 h 521"/>
                    <a:gd name="T2" fmla="*/ 3 w 17"/>
                    <a:gd name="T3" fmla="*/ 520 h 521"/>
                    <a:gd name="T4" fmla="*/ 0 w 17"/>
                    <a:gd name="T5" fmla="*/ 521 h 521"/>
                    <a:gd name="T6" fmla="*/ 0 w 17"/>
                    <a:gd name="T7" fmla="*/ 0 h 521"/>
                    <a:gd name="T8" fmla="*/ 17 w 17"/>
                    <a:gd name="T9" fmla="*/ 6 h 521"/>
                    <a:gd name="T10" fmla="*/ 17 w 17"/>
                    <a:gd name="T11" fmla="*/ 514 h 5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" h="521">
                      <a:moveTo>
                        <a:pt x="17" y="514"/>
                      </a:moveTo>
                      <a:cubicBezTo>
                        <a:pt x="12" y="516"/>
                        <a:pt x="7" y="518"/>
                        <a:pt x="3" y="520"/>
                      </a:cubicBezTo>
                      <a:cubicBezTo>
                        <a:pt x="2" y="520"/>
                        <a:pt x="1" y="520"/>
                        <a:pt x="0" y="52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6" y="2"/>
                        <a:pt x="11" y="4"/>
                        <a:pt x="17" y="6"/>
                      </a:cubicBezTo>
                      <a:lnTo>
                        <a:pt x="17" y="514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" name="Freeform 47"/>
                <p:cNvSpPr>
                  <a:spLocks/>
                </p:cNvSpPr>
                <p:nvPr/>
              </p:nvSpPr>
              <p:spPr bwMode="auto">
                <a:xfrm>
                  <a:off x="2286000" y="-1760538"/>
                  <a:ext cx="57150" cy="1792288"/>
                </a:xfrm>
                <a:custGeom>
                  <a:avLst/>
                  <a:gdLst>
                    <a:gd name="T0" fmla="*/ 17 w 17"/>
                    <a:gd name="T1" fmla="*/ 532 h 537"/>
                    <a:gd name="T2" fmla="*/ 0 w 17"/>
                    <a:gd name="T3" fmla="*/ 537 h 537"/>
                    <a:gd name="T4" fmla="*/ 0 w 17"/>
                    <a:gd name="T5" fmla="*/ 0 h 537"/>
                    <a:gd name="T6" fmla="*/ 17 w 17"/>
                    <a:gd name="T7" fmla="*/ 7 h 537"/>
                    <a:gd name="T8" fmla="*/ 17 w 17"/>
                    <a:gd name="T9" fmla="*/ 532 h 5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537">
                      <a:moveTo>
                        <a:pt x="17" y="532"/>
                      </a:moveTo>
                      <a:cubicBezTo>
                        <a:pt x="11" y="534"/>
                        <a:pt x="6" y="535"/>
                        <a:pt x="0" y="537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6" y="3"/>
                        <a:pt x="12" y="5"/>
                        <a:pt x="17" y="7"/>
                      </a:cubicBezTo>
                      <a:lnTo>
                        <a:pt x="17" y="532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91" name="Rectangle 2090"/>
                <p:cNvSpPr/>
                <p:nvPr/>
              </p:nvSpPr>
              <p:spPr>
                <a:xfrm>
                  <a:off x="2578100" y="-1670050"/>
                  <a:ext cx="4867275" cy="1608138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126" name="Freeform 48"/>
              <p:cNvSpPr>
                <a:spLocks/>
              </p:cNvSpPr>
              <p:nvPr/>
            </p:nvSpPr>
            <p:spPr bwMode="auto">
              <a:xfrm>
                <a:off x="3382963" y="-1624013"/>
                <a:ext cx="2838450" cy="1441450"/>
              </a:xfrm>
              <a:custGeom>
                <a:avLst/>
                <a:gdLst>
                  <a:gd name="T0" fmla="*/ 26 w 854"/>
                  <a:gd name="T1" fmla="*/ 379 h 432"/>
                  <a:gd name="T2" fmla="*/ 185 w 854"/>
                  <a:gd name="T3" fmla="*/ 275 h 432"/>
                  <a:gd name="T4" fmla="*/ 470 w 854"/>
                  <a:gd name="T5" fmla="*/ 299 h 432"/>
                  <a:gd name="T6" fmla="*/ 772 w 854"/>
                  <a:gd name="T7" fmla="*/ 205 h 432"/>
                  <a:gd name="T8" fmla="*/ 729 w 854"/>
                  <a:gd name="T9" fmla="*/ 117 h 432"/>
                  <a:gd name="T10" fmla="*/ 710 w 854"/>
                  <a:gd name="T11" fmla="*/ 151 h 432"/>
                  <a:gd name="T12" fmla="*/ 660 w 854"/>
                  <a:gd name="T13" fmla="*/ 161 h 432"/>
                  <a:gd name="T14" fmla="*/ 780 w 854"/>
                  <a:gd name="T15" fmla="*/ 44 h 432"/>
                  <a:gd name="T16" fmla="*/ 853 w 854"/>
                  <a:gd name="T17" fmla="*/ 172 h 432"/>
                  <a:gd name="T18" fmla="*/ 770 w 854"/>
                  <a:gd name="T19" fmla="*/ 296 h 432"/>
                  <a:gd name="T20" fmla="*/ 479 w 854"/>
                  <a:gd name="T21" fmla="*/ 335 h 432"/>
                  <a:gd name="T22" fmla="*/ 209 w 854"/>
                  <a:gd name="T23" fmla="*/ 287 h 432"/>
                  <a:gd name="T24" fmla="*/ 114 w 854"/>
                  <a:gd name="T25" fmla="*/ 308 h 432"/>
                  <a:gd name="T26" fmla="*/ 88 w 854"/>
                  <a:gd name="T27" fmla="*/ 344 h 432"/>
                  <a:gd name="T28" fmla="*/ 133 w 854"/>
                  <a:gd name="T29" fmla="*/ 349 h 432"/>
                  <a:gd name="T30" fmla="*/ 114 w 854"/>
                  <a:gd name="T31" fmla="*/ 423 h 432"/>
                  <a:gd name="T32" fmla="*/ 26 w 854"/>
                  <a:gd name="T33" fmla="*/ 379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54" h="432">
                    <a:moveTo>
                      <a:pt x="26" y="379"/>
                    </a:moveTo>
                    <a:cubicBezTo>
                      <a:pt x="0" y="297"/>
                      <a:pt x="135" y="277"/>
                      <a:pt x="185" y="275"/>
                    </a:cubicBezTo>
                    <a:cubicBezTo>
                      <a:pt x="279" y="272"/>
                      <a:pt x="376" y="296"/>
                      <a:pt x="470" y="299"/>
                    </a:cubicBezTo>
                    <a:cubicBezTo>
                      <a:pt x="557" y="303"/>
                      <a:pt x="727" y="298"/>
                      <a:pt x="772" y="205"/>
                    </a:cubicBezTo>
                    <a:cubicBezTo>
                      <a:pt x="787" y="172"/>
                      <a:pt x="775" y="110"/>
                      <a:pt x="729" y="117"/>
                    </a:cubicBezTo>
                    <a:cubicBezTo>
                      <a:pt x="694" y="122"/>
                      <a:pt x="720" y="136"/>
                      <a:pt x="710" y="151"/>
                    </a:cubicBezTo>
                    <a:cubicBezTo>
                      <a:pt x="699" y="170"/>
                      <a:pt x="673" y="170"/>
                      <a:pt x="660" y="161"/>
                    </a:cubicBezTo>
                    <a:cubicBezTo>
                      <a:pt x="570" y="96"/>
                      <a:pt x="700" y="0"/>
                      <a:pt x="780" y="44"/>
                    </a:cubicBezTo>
                    <a:cubicBezTo>
                      <a:pt x="824" y="68"/>
                      <a:pt x="854" y="125"/>
                      <a:pt x="853" y="172"/>
                    </a:cubicBezTo>
                    <a:cubicBezTo>
                      <a:pt x="851" y="225"/>
                      <a:pt x="815" y="270"/>
                      <a:pt x="770" y="296"/>
                    </a:cubicBezTo>
                    <a:cubicBezTo>
                      <a:pt x="689" y="342"/>
                      <a:pt x="569" y="353"/>
                      <a:pt x="479" y="335"/>
                    </a:cubicBezTo>
                    <a:cubicBezTo>
                      <a:pt x="391" y="320"/>
                      <a:pt x="298" y="289"/>
                      <a:pt x="209" y="287"/>
                    </a:cubicBezTo>
                    <a:cubicBezTo>
                      <a:pt x="178" y="287"/>
                      <a:pt x="140" y="291"/>
                      <a:pt x="114" y="308"/>
                    </a:cubicBezTo>
                    <a:cubicBezTo>
                      <a:pt x="107" y="313"/>
                      <a:pt x="81" y="332"/>
                      <a:pt x="88" y="344"/>
                    </a:cubicBezTo>
                    <a:cubicBezTo>
                      <a:pt x="95" y="353"/>
                      <a:pt x="118" y="338"/>
                      <a:pt x="133" y="349"/>
                    </a:cubicBezTo>
                    <a:cubicBezTo>
                      <a:pt x="172" y="378"/>
                      <a:pt x="144" y="413"/>
                      <a:pt x="114" y="423"/>
                    </a:cubicBezTo>
                    <a:cubicBezTo>
                      <a:pt x="89" y="432"/>
                      <a:pt x="39" y="418"/>
                      <a:pt x="26" y="37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" name="Freeform 49"/>
              <p:cNvSpPr>
                <a:spLocks/>
              </p:cNvSpPr>
              <p:nvPr/>
            </p:nvSpPr>
            <p:spPr bwMode="auto">
              <a:xfrm>
                <a:off x="3890963" y="-1355725"/>
                <a:ext cx="2706688" cy="1114425"/>
              </a:xfrm>
              <a:custGeom>
                <a:avLst/>
                <a:gdLst>
                  <a:gd name="T0" fmla="*/ 0 w 814"/>
                  <a:gd name="T1" fmla="*/ 254 h 334"/>
                  <a:gd name="T2" fmla="*/ 435 w 814"/>
                  <a:gd name="T3" fmla="*/ 292 h 334"/>
                  <a:gd name="T4" fmla="*/ 723 w 814"/>
                  <a:gd name="T5" fmla="*/ 0 h 334"/>
                  <a:gd name="T6" fmla="*/ 786 w 814"/>
                  <a:gd name="T7" fmla="*/ 200 h 334"/>
                  <a:gd name="T8" fmla="*/ 591 w 814"/>
                  <a:gd name="T9" fmla="*/ 327 h 334"/>
                  <a:gd name="T10" fmla="*/ 313 w 814"/>
                  <a:gd name="T11" fmla="*/ 280 h 334"/>
                  <a:gd name="T12" fmla="*/ 0 w 814"/>
                  <a:gd name="T13" fmla="*/ 25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4" h="334">
                    <a:moveTo>
                      <a:pt x="0" y="254"/>
                    </a:moveTo>
                    <a:cubicBezTo>
                      <a:pt x="65" y="211"/>
                      <a:pt x="360" y="280"/>
                      <a:pt x="435" y="292"/>
                    </a:cubicBezTo>
                    <a:cubicBezTo>
                      <a:pt x="565" y="312"/>
                      <a:pt x="814" y="243"/>
                      <a:pt x="723" y="0"/>
                    </a:cubicBezTo>
                    <a:cubicBezTo>
                      <a:pt x="773" y="53"/>
                      <a:pt x="809" y="127"/>
                      <a:pt x="786" y="200"/>
                    </a:cubicBezTo>
                    <a:cubicBezTo>
                      <a:pt x="756" y="297"/>
                      <a:pt x="684" y="318"/>
                      <a:pt x="591" y="327"/>
                    </a:cubicBezTo>
                    <a:cubicBezTo>
                      <a:pt x="495" y="334"/>
                      <a:pt x="406" y="303"/>
                      <a:pt x="313" y="280"/>
                    </a:cubicBezTo>
                    <a:cubicBezTo>
                      <a:pt x="91" y="226"/>
                      <a:pt x="0" y="254"/>
                      <a:pt x="0" y="25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0" name="Freeform 50"/>
              <p:cNvSpPr>
                <a:spLocks/>
              </p:cNvSpPr>
              <p:nvPr/>
            </p:nvSpPr>
            <p:spPr bwMode="auto">
              <a:xfrm>
                <a:off x="3462338" y="-1122363"/>
                <a:ext cx="392113" cy="463550"/>
              </a:xfrm>
              <a:custGeom>
                <a:avLst/>
                <a:gdLst>
                  <a:gd name="T0" fmla="*/ 75 w 118"/>
                  <a:gd name="T1" fmla="*/ 65 h 139"/>
                  <a:gd name="T2" fmla="*/ 81 w 118"/>
                  <a:gd name="T3" fmla="*/ 43 h 139"/>
                  <a:gd name="T4" fmla="*/ 84 w 118"/>
                  <a:gd name="T5" fmla="*/ 22 h 139"/>
                  <a:gd name="T6" fmla="*/ 82 w 118"/>
                  <a:gd name="T7" fmla="*/ 17 h 139"/>
                  <a:gd name="T8" fmla="*/ 73 w 118"/>
                  <a:gd name="T9" fmla="*/ 23 h 139"/>
                  <a:gd name="T10" fmla="*/ 57 w 118"/>
                  <a:gd name="T11" fmla="*/ 45 h 139"/>
                  <a:gd name="T12" fmla="*/ 46 w 118"/>
                  <a:gd name="T13" fmla="*/ 72 h 139"/>
                  <a:gd name="T14" fmla="*/ 42 w 118"/>
                  <a:gd name="T15" fmla="*/ 98 h 139"/>
                  <a:gd name="T16" fmla="*/ 44 w 118"/>
                  <a:gd name="T17" fmla="*/ 112 h 139"/>
                  <a:gd name="T18" fmla="*/ 52 w 118"/>
                  <a:gd name="T19" fmla="*/ 115 h 139"/>
                  <a:gd name="T20" fmla="*/ 66 w 118"/>
                  <a:gd name="T21" fmla="*/ 113 h 139"/>
                  <a:gd name="T22" fmla="*/ 103 w 118"/>
                  <a:gd name="T23" fmla="*/ 93 h 139"/>
                  <a:gd name="T24" fmla="*/ 114 w 118"/>
                  <a:gd name="T25" fmla="*/ 87 h 139"/>
                  <a:gd name="T26" fmla="*/ 117 w 118"/>
                  <a:gd name="T27" fmla="*/ 90 h 139"/>
                  <a:gd name="T28" fmla="*/ 117 w 118"/>
                  <a:gd name="T29" fmla="*/ 91 h 139"/>
                  <a:gd name="T30" fmla="*/ 114 w 118"/>
                  <a:gd name="T31" fmla="*/ 101 h 139"/>
                  <a:gd name="T32" fmla="*/ 105 w 118"/>
                  <a:gd name="T33" fmla="*/ 115 h 139"/>
                  <a:gd name="T34" fmla="*/ 87 w 118"/>
                  <a:gd name="T35" fmla="*/ 127 h 139"/>
                  <a:gd name="T36" fmla="*/ 64 w 118"/>
                  <a:gd name="T37" fmla="*/ 136 h 139"/>
                  <a:gd name="T38" fmla="*/ 44 w 118"/>
                  <a:gd name="T39" fmla="*/ 139 h 139"/>
                  <a:gd name="T40" fmla="*/ 27 w 118"/>
                  <a:gd name="T41" fmla="*/ 136 h 139"/>
                  <a:gd name="T42" fmla="*/ 13 w 118"/>
                  <a:gd name="T43" fmla="*/ 126 h 139"/>
                  <a:gd name="T44" fmla="*/ 3 w 118"/>
                  <a:gd name="T45" fmla="*/ 112 h 139"/>
                  <a:gd name="T46" fmla="*/ 0 w 118"/>
                  <a:gd name="T47" fmla="*/ 95 h 139"/>
                  <a:gd name="T48" fmla="*/ 2 w 118"/>
                  <a:gd name="T49" fmla="*/ 80 h 139"/>
                  <a:gd name="T50" fmla="*/ 8 w 118"/>
                  <a:gd name="T51" fmla="*/ 63 h 139"/>
                  <a:gd name="T52" fmla="*/ 18 w 118"/>
                  <a:gd name="T53" fmla="*/ 46 h 139"/>
                  <a:gd name="T54" fmla="*/ 24 w 118"/>
                  <a:gd name="T55" fmla="*/ 37 h 139"/>
                  <a:gd name="T56" fmla="*/ 32 w 118"/>
                  <a:gd name="T57" fmla="*/ 29 h 139"/>
                  <a:gd name="T58" fmla="*/ 41 w 118"/>
                  <a:gd name="T59" fmla="*/ 21 h 139"/>
                  <a:gd name="T60" fmla="*/ 50 w 118"/>
                  <a:gd name="T61" fmla="*/ 15 h 139"/>
                  <a:gd name="T62" fmla="*/ 64 w 118"/>
                  <a:gd name="T63" fmla="*/ 7 h 139"/>
                  <a:gd name="T64" fmla="*/ 78 w 118"/>
                  <a:gd name="T65" fmla="*/ 1 h 139"/>
                  <a:gd name="T66" fmla="*/ 90 w 118"/>
                  <a:gd name="T67" fmla="*/ 0 h 139"/>
                  <a:gd name="T68" fmla="*/ 111 w 118"/>
                  <a:gd name="T69" fmla="*/ 7 h 139"/>
                  <a:gd name="T70" fmla="*/ 118 w 118"/>
                  <a:gd name="T71" fmla="*/ 26 h 139"/>
                  <a:gd name="T72" fmla="*/ 112 w 118"/>
                  <a:gd name="T73" fmla="*/ 52 h 139"/>
                  <a:gd name="T74" fmla="*/ 95 w 118"/>
                  <a:gd name="T75" fmla="*/ 76 h 139"/>
                  <a:gd name="T76" fmla="*/ 81 w 118"/>
                  <a:gd name="T77" fmla="*/ 88 h 139"/>
                  <a:gd name="T78" fmla="*/ 69 w 118"/>
                  <a:gd name="T79" fmla="*/ 92 h 139"/>
                  <a:gd name="T80" fmla="*/ 64 w 118"/>
                  <a:gd name="T81" fmla="*/ 88 h 139"/>
                  <a:gd name="T82" fmla="*/ 66 w 118"/>
                  <a:gd name="T83" fmla="*/ 81 h 139"/>
                  <a:gd name="T84" fmla="*/ 75 w 118"/>
                  <a:gd name="T85" fmla="*/ 6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18" h="139">
                    <a:moveTo>
                      <a:pt x="75" y="65"/>
                    </a:moveTo>
                    <a:cubicBezTo>
                      <a:pt x="77" y="59"/>
                      <a:pt x="80" y="51"/>
                      <a:pt x="81" y="43"/>
                    </a:cubicBezTo>
                    <a:cubicBezTo>
                      <a:pt x="83" y="34"/>
                      <a:pt x="84" y="27"/>
                      <a:pt x="84" y="22"/>
                    </a:cubicBezTo>
                    <a:cubicBezTo>
                      <a:pt x="84" y="18"/>
                      <a:pt x="83" y="17"/>
                      <a:pt x="82" y="17"/>
                    </a:cubicBezTo>
                    <a:cubicBezTo>
                      <a:pt x="80" y="17"/>
                      <a:pt x="77" y="19"/>
                      <a:pt x="73" y="23"/>
                    </a:cubicBezTo>
                    <a:cubicBezTo>
                      <a:pt x="67" y="29"/>
                      <a:pt x="62" y="37"/>
                      <a:pt x="57" y="45"/>
                    </a:cubicBezTo>
                    <a:cubicBezTo>
                      <a:pt x="52" y="54"/>
                      <a:pt x="48" y="63"/>
                      <a:pt x="46" y="72"/>
                    </a:cubicBezTo>
                    <a:cubicBezTo>
                      <a:pt x="43" y="81"/>
                      <a:pt x="42" y="89"/>
                      <a:pt x="42" y="98"/>
                    </a:cubicBezTo>
                    <a:cubicBezTo>
                      <a:pt x="42" y="105"/>
                      <a:pt x="43" y="109"/>
                      <a:pt x="44" y="112"/>
                    </a:cubicBezTo>
                    <a:cubicBezTo>
                      <a:pt x="46" y="114"/>
                      <a:pt x="48" y="115"/>
                      <a:pt x="52" y="115"/>
                    </a:cubicBezTo>
                    <a:cubicBezTo>
                      <a:pt x="56" y="115"/>
                      <a:pt x="60" y="115"/>
                      <a:pt x="66" y="113"/>
                    </a:cubicBezTo>
                    <a:cubicBezTo>
                      <a:pt x="77" y="108"/>
                      <a:pt x="90" y="101"/>
                      <a:pt x="103" y="93"/>
                    </a:cubicBezTo>
                    <a:cubicBezTo>
                      <a:pt x="108" y="89"/>
                      <a:pt x="112" y="87"/>
                      <a:pt x="114" y="87"/>
                    </a:cubicBezTo>
                    <a:cubicBezTo>
                      <a:pt x="116" y="87"/>
                      <a:pt x="117" y="88"/>
                      <a:pt x="117" y="90"/>
                    </a:cubicBezTo>
                    <a:cubicBezTo>
                      <a:pt x="117" y="91"/>
                      <a:pt x="117" y="91"/>
                      <a:pt x="117" y="91"/>
                    </a:cubicBezTo>
                    <a:cubicBezTo>
                      <a:pt x="117" y="94"/>
                      <a:pt x="116" y="97"/>
                      <a:pt x="114" y="101"/>
                    </a:cubicBezTo>
                    <a:cubicBezTo>
                      <a:pt x="110" y="108"/>
                      <a:pt x="107" y="113"/>
                      <a:pt x="105" y="115"/>
                    </a:cubicBezTo>
                    <a:cubicBezTo>
                      <a:pt x="100" y="119"/>
                      <a:pt x="95" y="123"/>
                      <a:pt x="87" y="127"/>
                    </a:cubicBezTo>
                    <a:cubicBezTo>
                      <a:pt x="80" y="130"/>
                      <a:pt x="72" y="134"/>
                      <a:pt x="64" y="136"/>
                    </a:cubicBezTo>
                    <a:cubicBezTo>
                      <a:pt x="56" y="138"/>
                      <a:pt x="50" y="139"/>
                      <a:pt x="44" y="139"/>
                    </a:cubicBezTo>
                    <a:cubicBezTo>
                      <a:pt x="38" y="139"/>
                      <a:pt x="32" y="138"/>
                      <a:pt x="27" y="136"/>
                    </a:cubicBezTo>
                    <a:cubicBezTo>
                      <a:pt x="21" y="134"/>
                      <a:pt x="17" y="130"/>
                      <a:pt x="13" y="126"/>
                    </a:cubicBezTo>
                    <a:cubicBezTo>
                      <a:pt x="9" y="122"/>
                      <a:pt x="5" y="118"/>
                      <a:pt x="3" y="112"/>
                    </a:cubicBezTo>
                    <a:cubicBezTo>
                      <a:pt x="1" y="107"/>
                      <a:pt x="0" y="101"/>
                      <a:pt x="0" y="95"/>
                    </a:cubicBezTo>
                    <a:cubicBezTo>
                      <a:pt x="0" y="90"/>
                      <a:pt x="0" y="85"/>
                      <a:pt x="2" y="80"/>
                    </a:cubicBezTo>
                    <a:cubicBezTo>
                      <a:pt x="3" y="75"/>
                      <a:pt x="6" y="69"/>
                      <a:pt x="8" y="63"/>
                    </a:cubicBezTo>
                    <a:cubicBezTo>
                      <a:pt x="11" y="57"/>
                      <a:pt x="14" y="51"/>
                      <a:pt x="18" y="46"/>
                    </a:cubicBezTo>
                    <a:cubicBezTo>
                      <a:pt x="20" y="43"/>
                      <a:pt x="22" y="40"/>
                      <a:pt x="24" y="37"/>
                    </a:cubicBezTo>
                    <a:cubicBezTo>
                      <a:pt x="27" y="35"/>
                      <a:pt x="29" y="32"/>
                      <a:pt x="32" y="29"/>
                    </a:cubicBezTo>
                    <a:cubicBezTo>
                      <a:pt x="35" y="26"/>
                      <a:pt x="38" y="24"/>
                      <a:pt x="41" y="21"/>
                    </a:cubicBezTo>
                    <a:cubicBezTo>
                      <a:pt x="44" y="19"/>
                      <a:pt x="47" y="17"/>
                      <a:pt x="50" y="15"/>
                    </a:cubicBezTo>
                    <a:cubicBezTo>
                      <a:pt x="54" y="12"/>
                      <a:pt x="59" y="9"/>
                      <a:pt x="64" y="7"/>
                    </a:cubicBezTo>
                    <a:cubicBezTo>
                      <a:pt x="69" y="4"/>
                      <a:pt x="74" y="3"/>
                      <a:pt x="78" y="1"/>
                    </a:cubicBezTo>
                    <a:cubicBezTo>
                      <a:pt x="83" y="0"/>
                      <a:pt x="87" y="0"/>
                      <a:pt x="90" y="0"/>
                    </a:cubicBezTo>
                    <a:cubicBezTo>
                      <a:pt x="99" y="0"/>
                      <a:pt x="106" y="2"/>
                      <a:pt x="111" y="7"/>
                    </a:cubicBezTo>
                    <a:cubicBezTo>
                      <a:pt x="116" y="11"/>
                      <a:pt x="118" y="18"/>
                      <a:pt x="118" y="26"/>
                    </a:cubicBezTo>
                    <a:cubicBezTo>
                      <a:pt x="118" y="34"/>
                      <a:pt x="116" y="43"/>
                      <a:pt x="112" y="52"/>
                    </a:cubicBezTo>
                    <a:cubicBezTo>
                      <a:pt x="108" y="61"/>
                      <a:pt x="102" y="70"/>
                      <a:pt x="95" y="76"/>
                    </a:cubicBezTo>
                    <a:cubicBezTo>
                      <a:pt x="91" y="81"/>
                      <a:pt x="86" y="85"/>
                      <a:pt x="81" y="88"/>
                    </a:cubicBezTo>
                    <a:cubicBezTo>
                      <a:pt x="77" y="91"/>
                      <a:pt x="72" y="92"/>
                      <a:pt x="69" y="92"/>
                    </a:cubicBezTo>
                    <a:cubicBezTo>
                      <a:pt x="65" y="92"/>
                      <a:pt x="64" y="91"/>
                      <a:pt x="64" y="88"/>
                    </a:cubicBezTo>
                    <a:cubicBezTo>
                      <a:pt x="64" y="86"/>
                      <a:pt x="65" y="84"/>
                      <a:pt x="66" y="81"/>
                    </a:cubicBezTo>
                    <a:cubicBezTo>
                      <a:pt x="69" y="78"/>
                      <a:pt x="72" y="72"/>
                      <a:pt x="75" y="65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1" name="Freeform 51"/>
              <p:cNvSpPr>
                <a:spLocks/>
              </p:cNvSpPr>
              <p:nvPr/>
            </p:nvSpPr>
            <p:spPr bwMode="auto">
              <a:xfrm>
                <a:off x="3881438" y="-1125538"/>
                <a:ext cx="322263" cy="463550"/>
              </a:xfrm>
              <a:custGeom>
                <a:avLst/>
                <a:gdLst>
                  <a:gd name="T0" fmla="*/ 68 w 97"/>
                  <a:gd name="T1" fmla="*/ 16 h 139"/>
                  <a:gd name="T2" fmla="*/ 68 w 97"/>
                  <a:gd name="T3" fmla="*/ 15 h 139"/>
                  <a:gd name="T4" fmla="*/ 67 w 97"/>
                  <a:gd name="T5" fmla="*/ 11 h 139"/>
                  <a:gd name="T6" fmla="*/ 63 w 97"/>
                  <a:gd name="T7" fmla="*/ 15 h 139"/>
                  <a:gd name="T8" fmla="*/ 58 w 97"/>
                  <a:gd name="T9" fmla="*/ 24 h 139"/>
                  <a:gd name="T10" fmla="*/ 49 w 97"/>
                  <a:gd name="T11" fmla="*/ 51 h 139"/>
                  <a:gd name="T12" fmla="*/ 42 w 97"/>
                  <a:gd name="T13" fmla="*/ 79 h 139"/>
                  <a:gd name="T14" fmla="*/ 40 w 97"/>
                  <a:gd name="T15" fmla="*/ 91 h 139"/>
                  <a:gd name="T16" fmla="*/ 41 w 97"/>
                  <a:gd name="T17" fmla="*/ 91 h 139"/>
                  <a:gd name="T18" fmla="*/ 56 w 97"/>
                  <a:gd name="T19" fmla="*/ 76 h 139"/>
                  <a:gd name="T20" fmla="*/ 69 w 97"/>
                  <a:gd name="T21" fmla="*/ 66 h 139"/>
                  <a:gd name="T22" fmla="*/ 85 w 97"/>
                  <a:gd name="T23" fmla="*/ 60 h 139"/>
                  <a:gd name="T24" fmla="*/ 91 w 97"/>
                  <a:gd name="T25" fmla="*/ 63 h 139"/>
                  <a:gd name="T26" fmla="*/ 94 w 97"/>
                  <a:gd name="T27" fmla="*/ 71 h 139"/>
                  <a:gd name="T28" fmla="*/ 92 w 97"/>
                  <a:gd name="T29" fmla="*/ 79 h 139"/>
                  <a:gd name="T30" fmla="*/ 90 w 97"/>
                  <a:gd name="T31" fmla="*/ 100 h 139"/>
                  <a:gd name="T32" fmla="*/ 91 w 97"/>
                  <a:gd name="T33" fmla="*/ 107 h 139"/>
                  <a:gd name="T34" fmla="*/ 94 w 97"/>
                  <a:gd name="T35" fmla="*/ 120 h 139"/>
                  <a:gd name="T36" fmla="*/ 97 w 97"/>
                  <a:gd name="T37" fmla="*/ 129 h 139"/>
                  <a:gd name="T38" fmla="*/ 93 w 97"/>
                  <a:gd name="T39" fmla="*/ 132 h 139"/>
                  <a:gd name="T40" fmla="*/ 74 w 97"/>
                  <a:gd name="T41" fmla="*/ 139 h 139"/>
                  <a:gd name="T42" fmla="*/ 62 w 97"/>
                  <a:gd name="T43" fmla="*/ 132 h 139"/>
                  <a:gd name="T44" fmla="*/ 57 w 97"/>
                  <a:gd name="T45" fmla="*/ 113 h 139"/>
                  <a:gd name="T46" fmla="*/ 58 w 97"/>
                  <a:gd name="T47" fmla="*/ 102 h 139"/>
                  <a:gd name="T48" fmla="*/ 57 w 97"/>
                  <a:gd name="T49" fmla="*/ 102 h 139"/>
                  <a:gd name="T50" fmla="*/ 38 w 97"/>
                  <a:gd name="T51" fmla="*/ 122 h 139"/>
                  <a:gd name="T52" fmla="*/ 11 w 97"/>
                  <a:gd name="T53" fmla="*/ 139 h 139"/>
                  <a:gd name="T54" fmla="*/ 3 w 97"/>
                  <a:gd name="T55" fmla="*/ 133 h 139"/>
                  <a:gd name="T56" fmla="*/ 0 w 97"/>
                  <a:gd name="T57" fmla="*/ 118 h 139"/>
                  <a:gd name="T58" fmla="*/ 13 w 97"/>
                  <a:gd name="T59" fmla="*/ 66 h 139"/>
                  <a:gd name="T60" fmla="*/ 24 w 97"/>
                  <a:gd name="T61" fmla="*/ 42 h 139"/>
                  <a:gd name="T62" fmla="*/ 35 w 97"/>
                  <a:gd name="T63" fmla="*/ 23 h 139"/>
                  <a:gd name="T64" fmla="*/ 42 w 97"/>
                  <a:gd name="T65" fmla="*/ 13 h 139"/>
                  <a:gd name="T66" fmla="*/ 51 w 97"/>
                  <a:gd name="T67" fmla="*/ 6 h 139"/>
                  <a:gd name="T68" fmla="*/ 59 w 97"/>
                  <a:gd name="T69" fmla="*/ 1 h 139"/>
                  <a:gd name="T70" fmla="*/ 68 w 97"/>
                  <a:gd name="T71" fmla="*/ 0 h 139"/>
                  <a:gd name="T72" fmla="*/ 85 w 97"/>
                  <a:gd name="T73" fmla="*/ 7 h 139"/>
                  <a:gd name="T74" fmla="*/ 92 w 97"/>
                  <a:gd name="T75" fmla="*/ 24 h 139"/>
                  <a:gd name="T76" fmla="*/ 88 w 97"/>
                  <a:gd name="T77" fmla="*/ 39 h 139"/>
                  <a:gd name="T78" fmla="*/ 76 w 97"/>
                  <a:gd name="T79" fmla="*/ 55 h 139"/>
                  <a:gd name="T80" fmla="*/ 66 w 97"/>
                  <a:gd name="T81" fmla="*/ 63 h 139"/>
                  <a:gd name="T82" fmla="*/ 56 w 97"/>
                  <a:gd name="T83" fmla="*/ 66 h 139"/>
                  <a:gd name="T84" fmla="*/ 55 w 97"/>
                  <a:gd name="T85" fmla="*/ 66 h 139"/>
                  <a:gd name="T86" fmla="*/ 54 w 97"/>
                  <a:gd name="T87" fmla="*/ 64 h 139"/>
                  <a:gd name="T88" fmla="*/ 56 w 97"/>
                  <a:gd name="T89" fmla="*/ 57 h 139"/>
                  <a:gd name="T90" fmla="*/ 62 w 97"/>
                  <a:gd name="T91" fmla="*/ 44 h 139"/>
                  <a:gd name="T92" fmla="*/ 67 w 97"/>
                  <a:gd name="T93" fmla="*/ 29 h 139"/>
                  <a:gd name="T94" fmla="*/ 68 w 97"/>
                  <a:gd name="T95" fmla="*/ 16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7" h="139">
                    <a:moveTo>
                      <a:pt x="68" y="16"/>
                    </a:moveTo>
                    <a:cubicBezTo>
                      <a:pt x="68" y="15"/>
                      <a:pt x="68" y="15"/>
                      <a:pt x="68" y="15"/>
                    </a:cubicBezTo>
                    <a:cubicBezTo>
                      <a:pt x="68" y="12"/>
                      <a:pt x="68" y="11"/>
                      <a:pt x="67" y="11"/>
                    </a:cubicBezTo>
                    <a:cubicBezTo>
                      <a:pt x="67" y="11"/>
                      <a:pt x="65" y="12"/>
                      <a:pt x="63" y="15"/>
                    </a:cubicBezTo>
                    <a:cubicBezTo>
                      <a:pt x="61" y="18"/>
                      <a:pt x="60" y="21"/>
                      <a:pt x="58" y="24"/>
                    </a:cubicBezTo>
                    <a:cubicBezTo>
                      <a:pt x="55" y="32"/>
                      <a:pt x="51" y="41"/>
                      <a:pt x="49" y="51"/>
                    </a:cubicBezTo>
                    <a:cubicBezTo>
                      <a:pt x="46" y="60"/>
                      <a:pt x="44" y="70"/>
                      <a:pt x="42" y="79"/>
                    </a:cubicBezTo>
                    <a:cubicBezTo>
                      <a:pt x="41" y="82"/>
                      <a:pt x="41" y="86"/>
                      <a:pt x="40" y="91"/>
                    </a:cubicBezTo>
                    <a:cubicBezTo>
                      <a:pt x="41" y="91"/>
                      <a:pt x="41" y="91"/>
                      <a:pt x="41" y="91"/>
                    </a:cubicBezTo>
                    <a:cubicBezTo>
                      <a:pt x="48" y="84"/>
                      <a:pt x="53" y="79"/>
                      <a:pt x="56" y="76"/>
                    </a:cubicBezTo>
                    <a:cubicBezTo>
                      <a:pt x="59" y="73"/>
                      <a:pt x="63" y="70"/>
                      <a:pt x="69" y="66"/>
                    </a:cubicBezTo>
                    <a:cubicBezTo>
                      <a:pt x="75" y="62"/>
                      <a:pt x="81" y="60"/>
                      <a:pt x="85" y="60"/>
                    </a:cubicBezTo>
                    <a:cubicBezTo>
                      <a:pt x="88" y="60"/>
                      <a:pt x="90" y="61"/>
                      <a:pt x="91" y="63"/>
                    </a:cubicBezTo>
                    <a:cubicBezTo>
                      <a:pt x="93" y="65"/>
                      <a:pt x="94" y="67"/>
                      <a:pt x="94" y="71"/>
                    </a:cubicBezTo>
                    <a:cubicBezTo>
                      <a:pt x="94" y="73"/>
                      <a:pt x="93" y="76"/>
                      <a:pt x="92" y="79"/>
                    </a:cubicBezTo>
                    <a:cubicBezTo>
                      <a:pt x="91" y="87"/>
                      <a:pt x="90" y="94"/>
                      <a:pt x="90" y="100"/>
                    </a:cubicBezTo>
                    <a:cubicBezTo>
                      <a:pt x="90" y="102"/>
                      <a:pt x="91" y="105"/>
                      <a:pt x="91" y="107"/>
                    </a:cubicBezTo>
                    <a:cubicBezTo>
                      <a:pt x="91" y="110"/>
                      <a:pt x="92" y="114"/>
                      <a:pt x="94" y="120"/>
                    </a:cubicBezTo>
                    <a:cubicBezTo>
                      <a:pt x="96" y="125"/>
                      <a:pt x="97" y="128"/>
                      <a:pt x="97" y="129"/>
                    </a:cubicBezTo>
                    <a:cubicBezTo>
                      <a:pt x="97" y="130"/>
                      <a:pt x="95" y="131"/>
                      <a:pt x="93" y="132"/>
                    </a:cubicBezTo>
                    <a:cubicBezTo>
                      <a:pt x="86" y="137"/>
                      <a:pt x="80" y="139"/>
                      <a:pt x="74" y="139"/>
                    </a:cubicBezTo>
                    <a:cubicBezTo>
                      <a:pt x="69" y="139"/>
                      <a:pt x="65" y="137"/>
                      <a:pt x="62" y="132"/>
                    </a:cubicBezTo>
                    <a:cubicBezTo>
                      <a:pt x="59" y="127"/>
                      <a:pt x="57" y="121"/>
                      <a:pt x="57" y="113"/>
                    </a:cubicBezTo>
                    <a:cubicBezTo>
                      <a:pt x="57" y="110"/>
                      <a:pt x="57" y="107"/>
                      <a:pt x="58" y="102"/>
                    </a:cubicBezTo>
                    <a:cubicBezTo>
                      <a:pt x="57" y="102"/>
                      <a:pt x="57" y="102"/>
                      <a:pt x="57" y="102"/>
                    </a:cubicBezTo>
                    <a:cubicBezTo>
                      <a:pt x="48" y="112"/>
                      <a:pt x="42" y="118"/>
                      <a:pt x="38" y="122"/>
                    </a:cubicBezTo>
                    <a:cubicBezTo>
                      <a:pt x="26" y="133"/>
                      <a:pt x="17" y="139"/>
                      <a:pt x="11" y="139"/>
                    </a:cubicBezTo>
                    <a:cubicBezTo>
                      <a:pt x="8" y="139"/>
                      <a:pt x="5" y="137"/>
                      <a:pt x="3" y="133"/>
                    </a:cubicBezTo>
                    <a:cubicBezTo>
                      <a:pt x="1" y="129"/>
                      <a:pt x="0" y="124"/>
                      <a:pt x="0" y="118"/>
                    </a:cubicBezTo>
                    <a:cubicBezTo>
                      <a:pt x="0" y="104"/>
                      <a:pt x="5" y="87"/>
                      <a:pt x="13" y="66"/>
                    </a:cubicBezTo>
                    <a:cubicBezTo>
                      <a:pt x="16" y="58"/>
                      <a:pt x="20" y="50"/>
                      <a:pt x="24" y="42"/>
                    </a:cubicBezTo>
                    <a:cubicBezTo>
                      <a:pt x="28" y="35"/>
                      <a:pt x="31" y="28"/>
                      <a:pt x="35" y="23"/>
                    </a:cubicBezTo>
                    <a:cubicBezTo>
                      <a:pt x="37" y="19"/>
                      <a:pt x="40" y="16"/>
                      <a:pt x="42" y="13"/>
                    </a:cubicBezTo>
                    <a:cubicBezTo>
                      <a:pt x="45" y="10"/>
                      <a:pt x="48" y="8"/>
                      <a:pt x="51" y="6"/>
                    </a:cubicBezTo>
                    <a:cubicBezTo>
                      <a:pt x="53" y="4"/>
                      <a:pt x="56" y="2"/>
                      <a:pt x="59" y="1"/>
                    </a:cubicBezTo>
                    <a:cubicBezTo>
                      <a:pt x="62" y="0"/>
                      <a:pt x="65" y="0"/>
                      <a:pt x="68" y="0"/>
                    </a:cubicBezTo>
                    <a:cubicBezTo>
                      <a:pt x="75" y="0"/>
                      <a:pt x="81" y="2"/>
                      <a:pt x="85" y="7"/>
                    </a:cubicBezTo>
                    <a:cubicBezTo>
                      <a:pt x="90" y="11"/>
                      <a:pt x="92" y="17"/>
                      <a:pt x="92" y="24"/>
                    </a:cubicBezTo>
                    <a:cubicBezTo>
                      <a:pt x="92" y="29"/>
                      <a:pt x="91" y="34"/>
                      <a:pt x="88" y="39"/>
                    </a:cubicBezTo>
                    <a:cubicBezTo>
                      <a:pt x="85" y="45"/>
                      <a:pt x="81" y="50"/>
                      <a:pt x="76" y="55"/>
                    </a:cubicBezTo>
                    <a:cubicBezTo>
                      <a:pt x="73" y="58"/>
                      <a:pt x="70" y="60"/>
                      <a:pt x="66" y="63"/>
                    </a:cubicBezTo>
                    <a:cubicBezTo>
                      <a:pt x="62" y="65"/>
                      <a:pt x="59" y="66"/>
                      <a:pt x="56" y="66"/>
                    </a:cubicBezTo>
                    <a:cubicBezTo>
                      <a:pt x="56" y="66"/>
                      <a:pt x="55" y="66"/>
                      <a:pt x="55" y="66"/>
                    </a:cubicBezTo>
                    <a:cubicBezTo>
                      <a:pt x="54" y="65"/>
                      <a:pt x="54" y="65"/>
                      <a:pt x="54" y="64"/>
                    </a:cubicBezTo>
                    <a:cubicBezTo>
                      <a:pt x="54" y="63"/>
                      <a:pt x="55" y="61"/>
                      <a:pt x="56" y="57"/>
                    </a:cubicBezTo>
                    <a:cubicBezTo>
                      <a:pt x="58" y="54"/>
                      <a:pt x="60" y="49"/>
                      <a:pt x="62" y="44"/>
                    </a:cubicBezTo>
                    <a:cubicBezTo>
                      <a:pt x="64" y="38"/>
                      <a:pt x="66" y="33"/>
                      <a:pt x="67" y="29"/>
                    </a:cubicBezTo>
                    <a:cubicBezTo>
                      <a:pt x="68" y="24"/>
                      <a:pt x="68" y="20"/>
                      <a:pt x="68" y="1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2" name="Freeform 52"/>
              <p:cNvSpPr>
                <a:spLocks/>
              </p:cNvSpPr>
              <p:nvPr/>
            </p:nvSpPr>
            <p:spPr bwMode="auto">
              <a:xfrm>
                <a:off x="4227513" y="-1000125"/>
                <a:ext cx="342900" cy="338138"/>
              </a:xfrm>
              <a:custGeom>
                <a:avLst/>
                <a:gdLst>
                  <a:gd name="T0" fmla="*/ 67 w 103"/>
                  <a:gd name="T1" fmla="*/ 0 h 101"/>
                  <a:gd name="T2" fmla="*/ 82 w 103"/>
                  <a:gd name="T3" fmla="*/ 3 h 101"/>
                  <a:gd name="T4" fmla="*/ 75 w 103"/>
                  <a:gd name="T5" fmla="*/ 8 h 101"/>
                  <a:gd name="T6" fmla="*/ 60 w 103"/>
                  <a:gd name="T7" fmla="*/ 12 h 101"/>
                  <a:gd name="T8" fmla="*/ 48 w 103"/>
                  <a:gd name="T9" fmla="*/ 24 h 101"/>
                  <a:gd name="T10" fmla="*/ 39 w 103"/>
                  <a:gd name="T11" fmla="*/ 40 h 101"/>
                  <a:gd name="T12" fmla="*/ 36 w 103"/>
                  <a:gd name="T13" fmla="*/ 59 h 101"/>
                  <a:gd name="T14" fmla="*/ 41 w 103"/>
                  <a:gd name="T15" fmla="*/ 77 h 101"/>
                  <a:gd name="T16" fmla="*/ 55 w 103"/>
                  <a:gd name="T17" fmla="*/ 83 h 101"/>
                  <a:gd name="T18" fmla="*/ 68 w 103"/>
                  <a:gd name="T19" fmla="*/ 75 h 101"/>
                  <a:gd name="T20" fmla="*/ 74 w 103"/>
                  <a:gd name="T21" fmla="*/ 57 h 101"/>
                  <a:gd name="T22" fmla="*/ 70 w 103"/>
                  <a:gd name="T23" fmla="*/ 41 h 101"/>
                  <a:gd name="T24" fmla="*/ 60 w 103"/>
                  <a:gd name="T25" fmla="*/ 28 h 101"/>
                  <a:gd name="T26" fmla="*/ 57 w 103"/>
                  <a:gd name="T27" fmla="*/ 25 h 101"/>
                  <a:gd name="T28" fmla="*/ 61 w 103"/>
                  <a:gd name="T29" fmla="*/ 21 h 101"/>
                  <a:gd name="T30" fmla="*/ 71 w 103"/>
                  <a:gd name="T31" fmla="*/ 15 h 101"/>
                  <a:gd name="T32" fmla="*/ 81 w 103"/>
                  <a:gd name="T33" fmla="*/ 13 h 101"/>
                  <a:gd name="T34" fmla="*/ 90 w 103"/>
                  <a:gd name="T35" fmla="*/ 16 h 101"/>
                  <a:gd name="T36" fmla="*/ 97 w 103"/>
                  <a:gd name="T37" fmla="*/ 22 h 101"/>
                  <a:gd name="T38" fmla="*/ 102 w 103"/>
                  <a:gd name="T39" fmla="*/ 32 h 101"/>
                  <a:gd name="T40" fmla="*/ 103 w 103"/>
                  <a:gd name="T41" fmla="*/ 45 h 101"/>
                  <a:gd name="T42" fmla="*/ 99 w 103"/>
                  <a:gd name="T43" fmla="*/ 66 h 101"/>
                  <a:gd name="T44" fmla="*/ 89 w 103"/>
                  <a:gd name="T45" fmla="*/ 83 h 101"/>
                  <a:gd name="T46" fmla="*/ 68 w 103"/>
                  <a:gd name="T47" fmla="*/ 96 h 101"/>
                  <a:gd name="T48" fmla="*/ 45 w 103"/>
                  <a:gd name="T49" fmla="*/ 101 h 101"/>
                  <a:gd name="T50" fmla="*/ 25 w 103"/>
                  <a:gd name="T51" fmla="*/ 98 h 101"/>
                  <a:gd name="T52" fmla="*/ 8 w 103"/>
                  <a:gd name="T53" fmla="*/ 88 h 101"/>
                  <a:gd name="T54" fmla="*/ 0 w 103"/>
                  <a:gd name="T55" fmla="*/ 65 h 101"/>
                  <a:gd name="T56" fmla="*/ 6 w 103"/>
                  <a:gd name="T57" fmla="*/ 42 h 101"/>
                  <a:gd name="T58" fmla="*/ 21 w 103"/>
                  <a:gd name="T59" fmla="*/ 20 h 101"/>
                  <a:gd name="T60" fmla="*/ 43 w 103"/>
                  <a:gd name="T61" fmla="*/ 5 h 101"/>
                  <a:gd name="T62" fmla="*/ 67 w 103"/>
                  <a:gd name="T6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3" h="101">
                    <a:moveTo>
                      <a:pt x="67" y="0"/>
                    </a:moveTo>
                    <a:cubicBezTo>
                      <a:pt x="77" y="0"/>
                      <a:pt x="82" y="1"/>
                      <a:pt x="82" y="3"/>
                    </a:cubicBezTo>
                    <a:cubicBezTo>
                      <a:pt x="82" y="6"/>
                      <a:pt x="80" y="8"/>
                      <a:pt x="75" y="8"/>
                    </a:cubicBezTo>
                    <a:cubicBezTo>
                      <a:pt x="70" y="8"/>
                      <a:pt x="65" y="10"/>
                      <a:pt x="60" y="12"/>
                    </a:cubicBezTo>
                    <a:cubicBezTo>
                      <a:pt x="55" y="15"/>
                      <a:pt x="51" y="19"/>
                      <a:pt x="48" y="24"/>
                    </a:cubicBezTo>
                    <a:cubicBezTo>
                      <a:pt x="44" y="28"/>
                      <a:pt x="41" y="34"/>
                      <a:pt x="39" y="40"/>
                    </a:cubicBezTo>
                    <a:cubicBezTo>
                      <a:pt x="37" y="46"/>
                      <a:pt x="36" y="52"/>
                      <a:pt x="36" y="59"/>
                    </a:cubicBezTo>
                    <a:cubicBezTo>
                      <a:pt x="36" y="66"/>
                      <a:pt x="38" y="72"/>
                      <a:pt x="41" y="77"/>
                    </a:cubicBezTo>
                    <a:cubicBezTo>
                      <a:pt x="45" y="81"/>
                      <a:pt x="49" y="83"/>
                      <a:pt x="55" y="83"/>
                    </a:cubicBezTo>
                    <a:cubicBezTo>
                      <a:pt x="60" y="83"/>
                      <a:pt x="64" y="81"/>
                      <a:pt x="68" y="75"/>
                    </a:cubicBezTo>
                    <a:cubicBezTo>
                      <a:pt x="72" y="70"/>
                      <a:pt x="74" y="64"/>
                      <a:pt x="74" y="57"/>
                    </a:cubicBezTo>
                    <a:cubicBezTo>
                      <a:pt x="74" y="51"/>
                      <a:pt x="72" y="46"/>
                      <a:pt x="70" y="41"/>
                    </a:cubicBezTo>
                    <a:cubicBezTo>
                      <a:pt x="68" y="36"/>
                      <a:pt x="64" y="32"/>
                      <a:pt x="60" y="28"/>
                    </a:cubicBezTo>
                    <a:cubicBezTo>
                      <a:pt x="58" y="27"/>
                      <a:pt x="57" y="26"/>
                      <a:pt x="57" y="25"/>
                    </a:cubicBezTo>
                    <a:cubicBezTo>
                      <a:pt x="57" y="24"/>
                      <a:pt x="58" y="23"/>
                      <a:pt x="61" y="21"/>
                    </a:cubicBezTo>
                    <a:cubicBezTo>
                      <a:pt x="64" y="18"/>
                      <a:pt x="67" y="17"/>
                      <a:pt x="71" y="15"/>
                    </a:cubicBezTo>
                    <a:cubicBezTo>
                      <a:pt x="75" y="14"/>
                      <a:pt x="78" y="13"/>
                      <a:pt x="81" y="13"/>
                    </a:cubicBezTo>
                    <a:cubicBezTo>
                      <a:pt x="84" y="13"/>
                      <a:pt x="87" y="14"/>
                      <a:pt x="90" y="16"/>
                    </a:cubicBezTo>
                    <a:cubicBezTo>
                      <a:pt x="92" y="17"/>
                      <a:pt x="95" y="19"/>
                      <a:pt x="97" y="22"/>
                    </a:cubicBezTo>
                    <a:cubicBezTo>
                      <a:pt x="99" y="25"/>
                      <a:pt x="100" y="29"/>
                      <a:pt x="102" y="32"/>
                    </a:cubicBezTo>
                    <a:cubicBezTo>
                      <a:pt x="103" y="36"/>
                      <a:pt x="103" y="40"/>
                      <a:pt x="103" y="45"/>
                    </a:cubicBezTo>
                    <a:cubicBezTo>
                      <a:pt x="103" y="52"/>
                      <a:pt x="102" y="59"/>
                      <a:pt x="99" y="66"/>
                    </a:cubicBezTo>
                    <a:cubicBezTo>
                      <a:pt x="97" y="73"/>
                      <a:pt x="93" y="78"/>
                      <a:pt x="89" y="83"/>
                    </a:cubicBezTo>
                    <a:cubicBezTo>
                      <a:pt x="83" y="88"/>
                      <a:pt x="76" y="93"/>
                      <a:pt x="68" y="96"/>
                    </a:cubicBezTo>
                    <a:cubicBezTo>
                      <a:pt x="60" y="99"/>
                      <a:pt x="53" y="101"/>
                      <a:pt x="45" y="101"/>
                    </a:cubicBezTo>
                    <a:cubicBezTo>
                      <a:pt x="38" y="101"/>
                      <a:pt x="32" y="100"/>
                      <a:pt x="25" y="98"/>
                    </a:cubicBezTo>
                    <a:cubicBezTo>
                      <a:pt x="18" y="95"/>
                      <a:pt x="12" y="92"/>
                      <a:pt x="8" y="88"/>
                    </a:cubicBezTo>
                    <a:cubicBezTo>
                      <a:pt x="3" y="83"/>
                      <a:pt x="0" y="75"/>
                      <a:pt x="0" y="65"/>
                    </a:cubicBezTo>
                    <a:cubicBezTo>
                      <a:pt x="0" y="57"/>
                      <a:pt x="2" y="49"/>
                      <a:pt x="6" y="42"/>
                    </a:cubicBezTo>
                    <a:cubicBezTo>
                      <a:pt x="10" y="34"/>
                      <a:pt x="15" y="27"/>
                      <a:pt x="21" y="20"/>
                    </a:cubicBezTo>
                    <a:cubicBezTo>
                      <a:pt x="28" y="14"/>
                      <a:pt x="35" y="9"/>
                      <a:pt x="43" y="5"/>
                    </a:cubicBezTo>
                    <a:cubicBezTo>
                      <a:pt x="51" y="2"/>
                      <a:pt x="59" y="0"/>
                      <a:pt x="6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4" name="Freeform 53"/>
              <p:cNvSpPr>
                <a:spLocks/>
              </p:cNvSpPr>
              <p:nvPr/>
            </p:nvSpPr>
            <p:spPr bwMode="auto">
              <a:xfrm>
                <a:off x="4598988" y="-985838"/>
                <a:ext cx="239713" cy="330200"/>
              </a:xfrm>
              <a:custGeom>
                <a:avLst/>
                <a:gdLst>
                  <a:gd name="T0" fmla="*/ 55 w 72"/>
                  <a:gd name="T1" fmla="*/ 0 h 99"/>
                  <a:gd name="T2" fmla="*/ 67 w 72"/>
                  <a:gd name="T3" fmla="*/ 4 h 99"/>
                  <a:gd name="T4" fmla="*/ 72 w 72"/>
                  <a:gd name="T5" fmla="*/ 16 h 99"/>
                  <a:gd name="T6" fmla="*/ 68 w 72"/>
                  <a:gd name="T7" fmla="*/ 28 h 99"/>
                  <a:gd name="T8" fmla="*/ 60 w 72"/>
                  <a:gd name="T9" fmla="*/ 38 h 99"/>
                  <a:gd name="T10" fmla="*/ 49 w 72"/>
                  <a:gd name="T11" fmla="*/ 42 h 99"/>
                  <a:gd name="T12" fmla="*/ 46 w 72"/>
                  <a:gd name="T13" fmla="*/ 40 h 99"/>
                  <a:gd name="T14" fmla="*/ 47 w 72"/>
                  <a:gd name="T15" fmla="*/ 36 h 99"/>
                  <a:gd name="T16" fmla="*/ 51 w 72"/>
                  <a:gd name="T17" fmla="*/ 21 h 99"/>
                  <a:gd name="T18" fmla="*/ 50 w 72"/>
                  <a:gd name="T19" fmla="*/ 16 h 99"/>
                  <a:gd name="T20" fmla="*/ 46 w 72"/>
                  <a:gd name="T21" fmla="*/ 20 h 99"/>
                  <a:gd name="T22" fmla="*/ 41 w 72"/>
                  <a:gd name="T23" fmla="*/ 29 h 99"/>
                  <a:gd name="T24" fmla="*/ 36 w 72"/>
                  <a:gd name="T25" fmla="*/ 45 h 99"/>
                  <a:gd name="T26" fmla="*/ 34 w 72"/>
                  <a:gd name="T27" fmla="*/ 60 h 99"/>
                  <a:gd name="T28" fmla="*/ 36 w 72"/>
                  <a:gd name="T29" fmla="*/ 71 h 99"/>
                  <a:gd name="T30" fmla="*/ 42 w 72"/>
                  <a:gd name="T31" fmla="*/ 75 h 99"/>
                  <a:gd name="T32" fmla="*/ 51 w 72"/>
                  <a:gd name="T33" fmla="*/ 71 h 99"/>
                  <a:gd name="T34" fmla="*/ 62 w 72"/>
                  <a:gd name="T35" fmla="*/ 62 h 99"/>
                  <a:gd name="T36" fmla="*/ 66 w 72"/>
                  <a:gd name="T37" fmla="*/ 59 h 99"/>
                  <a:gd name="T38" fmla="*/ 68 w 72"/>
                  <a:gd name="T39" fmla="*/ 62 h 99"/>
                  <a:gd name="T40" fmla="*/ 59 w 72"/>
                  <a:gd name="T41" fmla="*/ 85 h 99"/>
                  <a:gd name="T42" fmla="*/ 43 w 72"/>
                  <a:gd name="T43" fmla="*/ 95 h 99"/>
                  <a:gd name="T44" fmla="*/ 28 w 72"/>
                  <a:gd name="T45" fmla="*/ 99 h 99"/>
                  <a:gd name="T46" fmla="*/ 8 w 72"/>
                  <a:gd name="T47" fmla="*/ 92 h 99"/>
                  <a:gd name="T48" fmla="*/ 0 w 72"/>
                  <a:gd name="T49" fmla="*/ 73 h 99"/>
                  <a:gd name="T50" fmla="*/ 5 w 72"/>
                  <a:gd name="T51" fmla="*/ 49 h 99"/>
                  <a:gd name="T52" fmla="*/ 19 w 72"/>
                  <a:gd name="T53" fmla="*/ 25 h 99"/>
                  <a:gd name="T54" fmla="*/ 39 w 72"/>
                  <a:gd name="T55" fmla="*/ 5 h 99"/>
                  <a:gd name="T56" fmla="*/ 55 w 72"/>
                  <a:gd name="T57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2" h="99">
                    <a:moveTo>
                      <a:pt x="55" y="0"/>
                    </a:moveTo>
                    <a:cubicBezTo>
                      <a:pt x="60" y="0"/>
                      <a:pt x="64" y="2"/>
                      <a:pt x="67" y="4"/>
                    </a:cubicBezTo>
                    <a:cubicBezTo>
                      <a:pt x="70" y="7"/>
                      <a:pt x="72" y="11"/>
                      <a:pt x="72" y="16"/>
                    </a:cubicBezTo>
                    <a:cubicBezTo>
                      <a:pt x="72" y="20"/>
                      <a:pt x="71" y="24"/>
                      <a:pt x="68" y="28"/>
                    </a:cubicBezTo>
                    <a:cubicBezTo>
                      <a:pt x="66" y="32"/>
                      <a:pt x="63" y="35"/>
                      <a:pt x="60" y="38"/>
                    </a:cubicBezTo>
                    <a:cubicBezTo>
                      <a:pt x="56" y="40"/>
                      <a:pt x="53" y="42"/>
                      <a:pt x="49" y="42"/>
                    </a:cubicBezTo>
                    <a:cubicBezTo>
                      <a:pt x="47" y="42"/>
                      <a:pt x="46" y="41"/>
                      <a:pt x="46" y="40"/>
                    </a:cubicBezTo>
                    <a:cubicBezTo>
                      <a:pt x="46" y="39"/>
                      <a:pt x="46" y="38"/>
                      <a:pt x="47" y="36"/>
                    </a:cubicBezTo>
                    <a:cubicBezTo>
                      <a:pt x="50" y="32"/>
                      <a:pt x="51" y="26"/>
                      <a:pt x="51" y="21"/>
                    </a:cubicBezTo>
                    <a:cubicBezTo>
                      <a:pt x="51" y="18"/>
                      <a:pt x="51" y="16"/>
                      <a:pt x="50" y="16"/>
                    </a:cubicBezTo>
                    <a:cubicBezTo>
                      <a:pt x="49" y="16"/>
                      <a:pt x="48" y="18"/>
                      <a:pt x="46" y="20"/>
                    </a:cubicBezTo>
                    <a:cubicBezTo>
                      <a:pt x="44" y="22"/>
                      <a:pt x="43" y="25"/>
                      <a:pt x="41" y="29"/>
                    </a:cubicBezTo>
                    <a:cubicBezTo>
                      <a:pt x="39" y="34"/>
                      <a:pt x="38" y="39"/>
                      <a:pt x="36" y="45"/>
                    </a:cubicBezTo>
                    <a:cubicBezTo>
                      <a:pt x="35" y="51"/>
                      <a:pt x="34" y="56"/>
                      <a:pt x="34" y="60"/>
                    </a:cubicBezTo>
                    <a:cubicBezTo>
                      <a:pt x="34" y="65"/>
                      <a:pt x="35" y="68"/>
                      <a:pt x="36" y="71"/>
                    </a:cubicBezTo>
                    <a:cubicBezTo>
                      <a:pt x="38" y="73"/>
                      <a:pt x="40" y="75"/>
                      <a:pt x="42" y="75"/>
                    </a:cubicBezTo>
                    <a:cubicBezTo>
                      <a:pt x="44" y="75"/>
                      <a:pt x="47" y="73"/>
                      <a:pt x="51" y="71"/>
                    </a:cubicBezTo>
                    <a:cubicBezTo>
                      <a:pt x="55" y="69"/>
                      <a:pt x="59" y="66"/>
                      <a:pt x="62" y="62"/>
                    </a:cubicBezTo>
                    <a:cubicBezTo>
                      <a:pt x="64" y="60"/>
                      <a:pt x="65" y="59"/>
                      <a:pt x="66" y="59"/>
                    </a:cubicBezTo>
                    <a:cubicBezTo>
                      <a:pt x="68" y="59"/>
                      <a:pt x="68" y="60"/>
                      <a:pt x="68" y="62"/>
                    </a:cubicBezTo>
                    <a:cubicBezTo>
                      <a:pt x="68" y="70"/>
                      <a:pt x="65" y="78"/>
                      <a:pt x="59" y="85"/>
                    </a:cubicBezTo>
                    <a:cubicBezTo>
                      <a:pt x="54" y="89"/>
                      <a:pt x="49" y="93"/>
                      <a:pt x="43" y="95"/>
                    </a:cubicBezTo>
                    <a:cubicBezTo>
                      <a:pt x="38" y="98"/>
                      <a:pt x="32" y="99"/>
                      <a:pt x="28" y="99"/>
                    </a:cubicBezTo>
                    <a:cubicBezTo>
                      <a:pt x="20" y="99"/>
                      <a:pt x="13" y="97"/>
                      <a:pt x="8" y="92"/>
                    </a:cubicBezTo>
                    <a:cubicBezTo>
                      <a:pt x="3" y="87"/>
                      <a:pt x="0" y="80"/>
                      <a:pt x="0" y="73"/>
                    </a:cubicBezTo>
                    <a:cubicBezTo>
                      <a:pt x="0" y="65"/>
                      <a:pt x="2" y="57"/>
                      <a:pt x="5" y="49"/>
                    </a:cubicBezTo>
                    <a:cubicBezTo>
                      <a:pt x="8" y="40"/>
                      <a:pt x="13" y="32"/>
                      <a:pt x="19" y="25"/>
                    </a:cubicBezTo>
                    <a:cubicBezTo>
                      <a:pt x="25" y="17"/>
                      <a:pt x="31" y="11"/>
                      <a:pt x="39" y="5"/>
                    </a:cubicBezTo>
                    <a:cubicBezTo>
                      <a:pt x="44" y="2"/>
                      <a:pt x="50" y="0"/>
                      <a:pt x="55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5" name="Freeform 54"/>
              <p:cNvSpPr>
                <a:spLocks/>
              </p:cNvSpPr>
              <p:nvPr/>
            </p:nvSpPr>
            <p:spPr bwMode="auto">
              <a:xfrm>
                <a:off x="4865688" y="-1000125"/>
                <a:ext cx="342900" cy="338138"/>
              </a:xfrm>
              <a:custGeom>
                <a:avLst/>
                <a:gdLst>
                  <a:gd name="T0" fmla="*/ 67 w 103"/>
                  <a:gd name="T1" fmla="*/ 0 h 101"/>
                  <a:gd name="T2" fmla="*/ 82 w 103"/>
                  <a:gd name="T3" fmla="*/ 3 h 101"/>
                  <a:gd name="T4" fmla="*/ 75 w 103"/>
                  <a:gd name="T5" fmla="*/ 8 h 101"/>
                  <a:gd name="T6" fmla="*/ 60 w 103"/>
                  <a:gd name="T7" fmla="*/ 12 h 101"/>
                  <a:gd name="T8" fmla="*/ 47 w 103"/>
                  <a:gd name="T9" fmla="*/ 24 h 101"/>
                  <a:gd name="T10" fmla="*/ 39 w 103"/>
                  <a:gd name="T11" fmla="*/ 40 h 101"/>
                  <a:gd name="T12" fmla="*/ 35 w 103"/>
                  <a:gd name="T13" fmla="*/ 59 h 101"/>
                  <a:gd name="T14" fmla="*/ 41 w 103"/>
                  <a:gd name="T15" fmla="*/ 77 h 101"/>
                  <a:gd name="T16" fmla="*/ 54 w 103"/>
                  <a:gd name="T17" fmla="*/ 83 h 101"/>
                  <a:gd name="T18" fmla="*/ 67 w 103"/>
                  <a:gd name="T19" fmla="*/ 75 h 101"/>
                  <a:gd name="T20" fmla="*/ 73 w 103"/>
                  <a:gd name="T21" fmla="*/ 57 h 101"/>
                  <a:gd name="T22" fmla="*/ 70 w 103"/>
                  <a:gd name="T23" fmla="*/ 41 h 101"/>
                  <a:gd name="T24" fmla="*/ 59 w 103"/>
                  <a:gd name="T25" fmla="*/ 28 h 101"/>
                  <a:gd name="T26" fmla="*/ 56 w 103"/>
                  <a:gd name="T27" fmla="*/ 25 h 101"/>
                  <a:gd name="T28" fmla="*/ 60 w 103"/>
                  <a:gd name="T29" fmla="*/ 21 h 101"/>
                  <a:gd name="T30" fmla="*/ 71 w 103"/>
                  <a:gd name="T31" fmla="*/ 15 h 101"/>
                  <a:gd name="T32" fmla="*/ 80 w 103"/>
                  <a:gd name="T33" fmla="*/ 13 h 101"/>
                  <a:gd name="T34" fmla="*/ 89 w 103"/>
                  <a:gd name="T35" fmla="*/ 16 h 101"/>
                  <a:gd name="T36" fmla="*/ 96 w 103"/>
                  <a:gd name="T37" fmla="*/ 22 h 101"/>
                  <a:gd name="T38" fmla="*/ 101 w 103"/>
                  <a:gd name="T39" fmla="*/ 32 h 101"/>
                  <a:gd name="T40" fmla="*/ 103 w 103"/>
                  <a:gd name="T41" fmla="*/ 45 h 101"/>
                  <a:gd name="T42" fmla="*/ 99 w 103"/>
                  <a:gd name="T43" fmla="*/ 66 h 101"/>
                  <a:gd name="T44" fmla="*/ 88 w 103"/>
                  <a:gd name="T45" fmla="*/ 83 h 101"/>
                  <a:gd name="T46" fmla="*/ 68 w 103"/>
                  <a:gd name="T47" fmla="*/ 96 h 101"/>
                  <a:gd name="T48" fmla="*/ 45 w 103"/>
                  <a:gd name="T49" fmla="*/ 101 h 101"/>
                  <a:gd name="T50" fmla="*/ 24 w 103"/>
                  <a:gd name="T51" fmla="*/ 98 h 101"/>
                  <a:gd name="T52" fmla="*/ 8 w 103"/>
                  <a:gd name="T53" fmla="*/ 88 h 101"/>
                  <a:gd name="T54" fmla="*/ 0 w 103"/>
                  <a:gd name="T55" fmla="*/ 65 h 101"/>
                  <a:gd name="T56" fmla="*/ 5 w 103"/>
                  <a:gd name="T57" fmla="*/ 42 h 101"/>
                  <a:gd name="T58" fmla="*/ 21 w 103"/>
                  <a:gd name="T59" fmla="*/ 20 h 101"/>
                  <a:gd name="T60" fmla="*/ 43 w 103"/>
                  <a:gd name="T61" fmla="*/ 5 h 101"/>
                  <a:gd name="T62" fmla="*/ 67 w 103"/>
                  <a:gd name="T6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3" h="101">
                    <a:moveTo>
                      <a:pt x="67" y="0"/>
                    </a:moveTo>
                    <a:cubicBezTo>
                      <a:pt x="77" y="0"/>
                      <a:pt x="82" y="1"/>
                      <a:pt x="82" y="3"/>
                    </a:cubicBezTo>
                    <a:cubicBezTo>
                      <a:pt x="82" y="6"/>
                      <a:pt x="79" y="8"/>
                      <a:pt x="75" y="8"/>
                    </a:cubicBezTo>
                    <a:cubicBezTo>
                      <a:pt x="69" y="8"/>
                      <a:pt x="64" y="10"/>
                      <a:pt x="60" y="12"/>
                    </a:cubicBezTo>
                    <a:cubicBezTo>
                      <a:pt x="55" y="15"/>
                      <a:pt x="51" y="19"/>
                      <a:pt x="47" y="24"/>
                    </a:cubicBezTo>
                    <a:cubicBezTo>
                      <a:pt x="43" y="28"/>
                      <a:pt x="41" y="34"/>
                      <a:pt x="39" y="40"/>
                    </a:cubicBezTo>
                    <a:cubicBezTo>
                      <a:pt x="36" y="46"/>
                      <a:pt x="35" y="52"/>
                      <a:pt x="35" y="59"/>
                    </a:cubicBezTo>
                    <a:cubicBezTo>
                      <a:pt x="35" y="66"/>
                      <a:pt x="37" y="72"/>
                      <a:pt x="41" y="77"/>
                    </a:cubicBezTo>
                    <a:cubicBezTo>
                      <a:pt x="44" y="81"/>
                      <a:pt x="48" y="83"/>
                      <a:pt x="54" y="83"/>
                    </a:cubicBezTo>
                    <a:cubicBezTo>
                      <a:pt x="59" y="83"/>
                      <a:pt x="64" y="81"/>
                      <a:pt x="67" y="75"/>
                    </a:cubicBezTo>
                    <a:cubicBezTo>
                      <a:pt x="71" y="70"/>
                      <a:pt x="73" y="64"/>
                      <a:pt x="73" y="57"/>
                    </a:cubicBezTo>
                    <a:cubicBezTo>
                      <a:pt x="73" y="51"/>
                      <a:pt x="72" y="46"/>
                      <a:pt x="70" y="41"/>
                    </a:cubicBezTo>
                    <a:cubicBezTo>
                      <a:pt x="67" y="36"/>
                      <a:pt x="64" y="32"/>
                      <a:pt x="59" y="28"/>
                    </a:cubicBezTo>
                    <a:cubicBezTo>
                      <a:pt x="57" y="27"/>
                      <a:pt x="56" y="26"/>
                      <a:pt x="56" y="25"/>
                    </a:cubicBezTo>
                    <a:cubicBezTo>
                      <a:pt x="56" y="24"/>
                      <a:pt x="58" y="23"/>
                      <a:pt x="60" y="21"/>
                    </a:cubicBezTo>
                    <a:cubicBezTo>
                      <a:pt x="63" y="18"/>
                      <a:pt x="67" y="17"/>
                      <a:pt x="71" y="15"/>
                    </a:cubicBezTo>
                    <a:cubicBezTo>
                      <a:pt x="75" y="14"/>
                      <a:pt x="78" y="13"/>
                      <a:pt x="80" y="13"/>
                    </a:cubicBezTo>
                    <a:cubicBezTo>
                      <a:pt x="83" y="13"/>
                      <a:pt x="86" y="14"/>
                      <a:pt x="89" y="16"/>
                    </a:cubicBezTo>
                    <a:cubicBezTo>
                      <a:pt x="92" y="17"/>
                      <a:pt x="94" y="19"/>
                      <a:pt x="96" y="22"/>
                    </a:cubicBezTo>
                    <a:cubicBezTo>
                      <a:pt x="98" y="25"/>
                      <a:pt x="100" y="29"/>
                      <a:pt x="101" y="32"/>
                    </a:cubicBezTo>
                    <a:cubicBezTo>
                      <a:pt x="102" y="36"/>
                      <a:pt x="103" y="40"/>
                      <a:pt x="103" y="45"/>
                    </a:cubicBezTo>
                    <a:cubicBezTo>
                      <a:pt x="103" y="52"/>
                      <a:pt x="101" y="59"/>
                      <a:pt x="99" y="66"/>
                    </a:cubicBezTo>
                    <a:cubicBezTo>
                      <a:pt x="96" y="73"/>
                      <a:pt x="92" y="78"/>
                      <a:pt x="88" y="83"/>
                    </a:cubicBezTo>
                    <a:cubicBezTo>
                      <a:pt x="82" y="88"/>
                      <a:pt x="76" y="93"/>
                      <a:pt x="68" y="96"/>
                    </a:cubicBezTo>
                    <a:cubicBezTo>
                      <a:pt x="60" y="99"/>
                      <a:pt x="52" y="101"/>
                      <a:pt x="45" y="101"/>
                    </a:cubicBezTo>
                    <a:cubicBezTo>
                      <a:pt x="38" y="101"/>
                      <a:pt x="31" y="100"/>
                      <a:pt x="24" y="98"/>
                    </a:cubicBezTo>
                    <a:cubicBezTo>
                      <a:pt x="17" y="95"/>
                      <a:pt x="12" y="92"/>
                      <a:pt x="8" y="88"/>
                    </a:cubicBezTo>
                    <a:cubicBezTo>
                      <a:pt x="2" y="83"/>
                      <a:pt x="0" y="75"/>
                      <a:pt x="0" y="65"/>
                    </a:cubicBezTo>
                    <a:cubicBezTo>
                      <a:pt x="0" y="57"/>
                      <a:pt x="2" y="49"/>
                      <a:pt x="5" y="42"/>
                    </a:cubicBezTo>
                    <a:cubicBezTo>
                      <a:pt x="9" y="34"/>
                      <a:pt x="14" y="27"/>
                      <a:pt x="21" y="20"/>
                    </a:cubicBezTo>
                    <a:cubicBezTo>
                      <a:pt x="28" y="14"/>
                      <a:pt x="35" y="9"/>
                      <a:pt x="43" y="5"/>
                    </a:cubicBezTo>
                    <a:cubicBezTo>
                      <a:pt x="51" y="2"/>
                      <a:pt x="59" y="0"/>
                      <a:pt x="67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6" name="Freeform 55"/>
              <p:cNvSpPr>
                <a:spLocks/>
              </p:cNvSpPr>
              <p:nvPr/>
            </p:nvSpPr>
            <p:spPr bwMode="auto">
              <a:xfrm>
                <a:off x="5233988" y="-1125538"/>
                <a:ext cx="290513" cy="466725"/>
              </a:xfrm>
              <a:custGeom>
                <a:avLst/>
                <a:gdLst>
                  <a:gd name="T0" fmla="*/ 55 w 87"/>
                  <a:gd name="T1" fmla="*/ 64 h 140"/>
                  <a:gd name="T2" fmla="*/ 62 w 87"/>
                  <a:gd name="T3" fmla="*/ 40 h 140"/>
                  <a:gd name="T4" fmla="*/ 64 w 87"/>
                  <a:gd name="T5" fmla="*/ 21 h 140"/>
                  <a:gd name="T6" fmla="*/ 63 w 87"/>
                  <a:gd name="T7" fmla="*/ 19 h 140"/>
                  <a:gd name="T8" fmla="*/ 58 w 87"/>
                  <a:gd name="T9" fmla="*/ 26 h 140"/>
                  <a:gd name="T10" fmla="*/ 51 w 87"/>
                  <a:gd name="T11" fmla="*/ 41 h 140"/>
                  <a:gd name="T12" fmla="*/ 42 w 87"/>
                  <a:gd name="T13" fmla="*/ 68 h 140"/>
                  <a:gd name="T14" fmla="*/ 37 w 87"/>
                  <a:gd name="T15" fmla="*/ 87 h 140"/>
                  <a:gd name="T16" fmla="*/ 36 w 87"/>
                  <a:gd name="T17" fmla="*/ 102 h 140"/>
                  <a:gd name="T18" fmla="*/ 38 w 87"/>
                  <a:gd name="T19" fmla="*/ 111 h 140"/>
                  <a:gd name="T20" fmla="*/ 42 w 87"/>
                  <a:gd name="T21" fmla="*/ 114 h 140"/>
                  <a:gd name="T22" fmla="*/ 55 w 87"/>
                  <a:gd name="T23" fmla="*/ 109 h 140"/>
                  <a:gd name="T24" fmla="*/ 67 w 87"/>
                  <a:gd name="T25" fmla="*/ 96 h 140"/>
                  <a:gd name="T26" fmla="*/ 74 w 87"/>
                  <a:gd name="T27" fmla="*/ 90 h 140"/>
                  <a:gd name="T28" fmla="*/ 77 w 87"/>
                  <a:gd name="T29" fmla="*/ 95 h 140"/>
                  <a:gd name="T30" fmla="*/ 70 w 87"/>
                  <a:gd name="T31" fmla="*/ 116 h 140"/>
                  <a:gd name="T32" fmla="*/ 53 w 87"/>
                  <a:gd name="T33" fmla="*/ 133 h 140"/>
                  <a:gd name="T34" fmla="*/ 31 w 87"/>
                  <a:gd name="T35" fmla="*/ 140 h 140"/>
                  <a:gd name="T36" fmla="*/ 9 w 87"/>
                  <a:gd name="T37" fmla="*/ 131 h 140"/>
                  <a:gd name="T38" fmla="*/ 0 w 87"/>
                  <a:gd name="T39" fmla="*/ 109 h 140"/>
                  <a:gd name="T40" fmla="*/ 5 w 87"/>
                  <a:gd name="T41" fmla="*/ 82 h 140"/>
                  <a:gd name="T42" fmla="*/ 18 w 87"/>
                  <a:gd name="T43" fmla="*/ 52 h 140"/>
                  <a:gd name="T44" fmla="*/ 36 w 87"/>
                  <a:gd name="T45" fmla="*/ 24 h 140"/>
                  <a:gd name="T46" fmla="*/ 55 w 87"/>
                  <a:gd name="T47" fmla="*/ 5 h 140"/>
                  <a:gd name="T48" fmla="*/ 68 w 87"/>
                  <a:gd name="T49" fmla="*/ 0 h 140"/>
                  <a:gd name="T50" fmla="*/ 78 w 87"/>
                  <a:gd name="T51" fmla="*/ 4 h 140"/>
                  <a:gd name="T52" fmla="*/ 85 w 87"/>
                  <a:gd name="T53" fmla="*/ 13 h 140"/>
                  <a:gd name="T54" fmla="*/ 87 w 87"/>
                  <a:gd name="T55" fmla="*/ 26 h 140"/>
                  <a:gd name="T56" fmla="*/ 81 w 87"/>
                  <a:gd name="T57" fmla="*/ 57 h 140"/>
                  <a:gd name="T58" fmla="*/ 64 w 87"/>
                  <a:gd name="T59" fmla="*/ 84 h 140"/>
                  <a:gd name="T60" fmla="*/ 54 w 87"/>
                  <a:gd name="T61" fmla="*/ 92 h 140"/>
                  <a:gd name="T62" fmla="*/ 45 w 87"/>
                  <a:gd name="T63" fmla="*/ 95 h 140"/>
                  <a:gd name="T64" fmla="*/ 42 w 87"/>
                  <a:gd name="T65" fmla="*/ 92 h 140"/>
                  <a:gd name="T66" fmla="*/ 44 w 87"/>
                  <a:gd name="T67" fmla="*/ 87 h 140"/>
                  <a:gd name="T68" fmla="*/ 53 w 87"/>
                  <a:gd name="T69" fmla="*/ 70 h 140"/>
                  <a:gd name="T70" fmla="*/ 54 w 87"/>
                  <a:gd name="T71" fmla="*/ 67 h 140"/>
                  <a:gd name="T72" fmla="*/ 55 w 87"/>
                  <a:gd name="T73" fmla="*/ 64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7" h="140">
                    <a:moveTo>
                      <a:pt x="55" y="64"/>
                    </a:moveTo>
                    <a:cubicBezTo>
                      <a:pt x="57" y="56"/>
                      <a:pt x="60" y="48"/>
                      <a:pt x="62" y="40"/>
                    </a:cubicBezTo>
                    <a:cubicBezTo>
                      <a:pt x="63" y="32"/>
                      <a:pt x="64" y="25"/>
                      <a:pt x="64" y="21"/>
                    </a:cubicBezTo>
                    <a:cubicBezTo>
                      <a:pt x="64" y="20"/>
                      <a:pt x="64" y="19"/>
                      <a:pt x="63" y="19"/>
                    </a:cubicBezTo>
                    <a:cubicBezTo>
                      <a:pt x="62" y="19"/>
                      <a:pt x="60" y="22"/>
                      <a:pt x="58" y="26"/>
                    </a:cubicBezTo>
                    <a:cubicBezTo>
                      <a:pt x="55" y="31"/>
                      <a:pt x="53" y="36"/>
                      <a:pt x="51" y="41"/>
                    </a:cubicBezTo>
                    <a:cubicBezTo>
                      <a:pt x="47" y="52"/>
                      <a:pt x="44" y="61"/>
                      <a:pt x="42" y="68"/>
                    </a:cubicBezTo>
                    <a:cubicBezTo>
                      <a:pt x="40" y="76"/>
                      <a:pt x="38" y="82"/>
                      <a:pt x="37" y="87"/>
                    </a:cubicBezTo>
                    <a:cubicBezTo>
                      <a:pt x="37" y="91"/>
                      <a:pt x="36" y="96"/>
                      <a:pt x="36" y="102"/>
                    </a:cubicBezTo>
                    <a:cubicBezTo>
                      <a:pt x="36" y="106"/>
                      <a:pt x="37" y="109"/>
                      <a:pt x="38" y="111"/>
                    </a:cubicBezTo>
                    <a:cubicBezTo>
                      <a:pt x="39" y="113"/>
                      <a:pt x="40" y="114"/>
                      <a:pt x="42" y="114"/>
                    </a:cubicBezTo>
                    <a:cubicBezTo>
                      <a:pt x="46" y="114"/>
                      <a:pt x="50" y="113"/>
                      <a:pt x="55" y="109"/>
                    </a:cubicBezTo>
                    <a:cubicBezTo>
                      <a:pt x="59" y="106"/>
                      <a:pt x="63" y="102"/>
                      <a:pt x="67" y="96"/>
                    </a:cubicBezTo>
                    <a:cubicBezTo>
                      <a:pt x="70" y="92"/>
                      <a:pt x="72" y="90"/>
                      <a:pt x="74" y="90"/>
                    </a:cubicBezTo>
                    <a:cubicBezTo>
                      <a:pt x="76" y="90"/>
                      <a:pt x="77" y="92"/>
                      <a:pt x="77" y="95"/>
                    </a:cubicBezTo>
                    <a:cubicBezTo>
                      <a:pt x="77" y="103"/>
                      <a:pt x="75" y="110"/>
                      <a:pt x="70" y="116"/>
                    </a:cubicBezTo>
                    <a:cubicBezTo>
                      <a:pt x="66" y="123"/>
                      <a:pt x="60" y="129"/>
                      <a:pt x="53" y="133"/>
                    </a:cubicBezTo>
                    <a:cubicBezTo>
                      <a:pt x="46" y="137"/>
                      <a:pt x="39" y="140"/>
                      <a:pt x="31" y="140"/>
                    </a:cubicBezTo>
                    <a:cubicBezTo>
                      <a:pt x="22" y="140"/>
                      <a:pt x="15" y="137"/>
                      <a:pt x="9" y="131"/>
                    </a:cubicBezTo>
                    <a:cubicBezTo>
                      <a:pt x="3" y="125"/>
                      <a:pt x="0" y="118"/>
                      <a:pt x="0" y="109"/>
                    </a:cubicBezTo>
                    <a:cubicBezTo>
                      <a:pt x="0" y="101"/>
                      <a:pt x="2" y="92"/>
                      <a:pt x="5" y="82"/>
                    </a:cubicBezTo>
                    <a:cubicBezTo>
                      <a:pt x="8" y="72"/>
                      <a:pt x="13" y="62"/>
                      <a:pt x="18" y="52"/>
                    </a:cubicBezTo>
                    <a:cubicBezTo>
                      <a:pt x="24" y="41"/>
                      <a:pt x="30" y="32"/>
                      <a:pt x="36" y="24"/>
                    </a:cubicBezTo>
                    <a:cubicBezTo>
                      <a:pt x="42" y="15"/>
                      <a:pt x="49" y="9"/>
                      <a:pt x="55" y="5"/>
                    </a:cubicBezTo>
                    <a:cubicBezTo>
                      <a:pt x="59" y="2"/>
                      <a:pt x="63" y="0"/>
                      <a:pt x="68" y="0"/>
                    </a:cubicBezTo>
                    <a:cubicBezTo>
                      <a:pt x="72" y="0"/>
                      <a:pt x="75" y="1"/>
                      <a:pt x="78" y="4"/>
                    </a:cubicBezTo>
                    <a:cubicBezTo>
                      <a:pt x="81" y="6"/>
                      <a:pt x="83" y="9"/>
                      <a:pt x="85" y="13"/>
                    </a:cubicBezTo>
                    <a:cubicBezTo>
                      <a:pt x="87" y="17"/>
                      <a:pt x="87" y="21"/>
                      <a:pt x="87" y="26"/>
                    </a:cubicBezTo>
                    <a:cubicBezTo>
                      <a:pt x="87" y="37"/>
                      <a:pt x="85" y="47"/>
                      <a:pt x="81" y="57"/>
                    </a:cubicBezTo>
                    <a:cubicBezTo>
                      <a:pt x="77" y="67"/>
                      <a:pt x="71" y="76"/>
                      <a:pt x="64" y="84"/>
                    </a:cubicBezTo>
                    <a:cubicBezTo>
                      <a:pt x="60" y="87"/>
                      <a:pt x="57" y="90"/>
                      <a:pt x="54" y="92"/>
                    </a:cubicBezTo>
                    <a:cubicBezTo>
                      <a:pt x="51" y="94"/>
                      <a:pt x="48" y="95"/>
                      <a:pt x="45" y="95"/>
                    </a:cubicBezTo>
                    <a:cubicBezTo>
                      <a:pt x="43" y="95"/>
                      <a:pt x="42" y="94"/>
                      <a:pt x="42" y="92"/>
                    </a:cubicBezTo>
                    <a:cubicBezTo>
                      <a:pt x="42" y="91"/>
                      <a:pt x="43" y="89"/>
                      <a:pt x="44" y="87"/>
                    </a:cubicBezTo>
                    <a:cubicBezTo>
                      <a:pt x="47" y="83"/>
                      <a:pt x="49" y="77"/>
                      <a:pt x="53" y="70"/>
                    </a:cubicBezTo>
                    <a:cubicBezTo>
                      <a:pt x="53" y="69"/>
                      <a:pt x="53" y="68"/>
                      <a:pt x="54" y="67"/>
                    </a:cubicBezTo>
                    <a:cubicBezTo>
                      <a:pt x="54" y="67"/>
                      <a:pt x="54" y="65"/>
                      <a:pt x="55" y="6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7" name="Freeform 56"/>
              <p:cNvSpPr>
                <a:spLocks noEditPoints="1"/>
              </p:cNvSpPr>
              <p:nvPr/>
            </p:nvSpPr>
            <p:spPr bwMode="auto">
              <a:xfrm>
                <a:off x="5546725" y="-985838"/>
                <a:ext cx="358775" cy="333375"/>
              </a:xfrm>
              <a:custGeom>
                <a:avLst/>
                <a:gdLst>
                  <a:gd name="T0" fmla="*/ 70 w 108"/>
                  <a:gd name="T1" fmla="*/ 68 h 100"/>
                  <a:gd name="T2" fmla="*/ 70 w 108"/>
                  <a:gd name="T3" fmla="*/ 68 h 100"/>
                  <a:gd name="T4" fmla="*/ 70 w 108"/>
                  <a:gd name="T5" fmla="*/ 68 h 100"/>
                  <a:gd name="T6" fmla="*/ 52 w 108"/>
                  <a:gd name="T7" fmla="*/ 86 h 100"/>
                  <a:gd name="T8" fmla="*/ 38 w 108"/>
                  <a:gd name="T9" fmla="*/ 97 h 100"/>
                  <a:gd name="T10" fmla="*/ 26 w 108"/>
                  <a:gd name="T11" fmla="*/ 100 h 100"/>
                  <a:gd name="T12" fmla="*/ 7 w 108"/>
                  <a:gd name="T13" fmla="*/ 93 h 100"/>
                  <a:gd name="T14" fmla="*/ 0 w 108"/>
                  <a:gd name="T15" fmla="*/ 73 h 100"/>
                  <a:gd name="T16" fmla="*/ 3 w 108"/>
                  <a:gd name="T17" fmla="*/ 56 h 100"/>
                  <a:gd name="T18" fmla="*/ 13 w 108"/>
                  <a:gd name="T19" fmla="*/ 37 h 100"/>
                  <a:gd name="T20" fmla="*/ 40 w 108"/>
                  <a:gd name="T21" fmla="*/ 11 h 100"/>
                  <a:gd name="T22" fmla="*/ 72 w 108"/>
                  <a:gd name="T23" fmla="*/ 0 h 100"/>
                  <a:gd name="T24" fmla="*/ 93 w 108"/>
                  <a:gd name="T25" fmla="*/ 6 h 100"/>
                  <a:gd name="T26" fmla="*/ 101 w 108"/>
                  <a:gd name="T27" fmla="*/ 19 h 100"/>
                  <a:gd name="T28" fmla="*/ 97 w 108"/>
                  <a:gd name="T29" fmla="*/ 32 h 100"/>
                  <a:gd name="T30" fmla="*/ 104 w 108"/>
                  <a:gd name="T31" fmla="*/ 33 h 100"/>
                  <a:gd name="T32" fmla="*/ 106 w 108"/>
                  <a:gd name="T33" fmla="*/ 38 h 100"/>
                  <a:gd name="T34" fmla="*/ 105 w 108"/>
                  <a:gd name="T35" fmla="*/ 42 h 100"/>
                  <a:gd name="T36" fmla="*/ 105 w 108"/>
                  <a:gd name="T37" fmla="*/ 61 h 100"/>
                  <a:gd name="T38" fmla="*/ 105 w 108"/>
                  <a:gd name="T39" fmla="*/ 68 h 100"/>
                  <a:gd name="T40" fmla="*/ 105 w 108"/>
                  <a:gd name="T41" fmla="*/ 73 h 100"/>
                  <a:gd name="T42" fmla="*/ 106 w 108"/>
                  <a:gd name="T43" fmla="*/ 78 h 100"/>
                  <a:gd name="T44" fmla="*/ 108 w 108"/>
                  <a:gd name="T45" fmla="*/ 87 h 100"/>
                  <a:gd name="T46" fmla="*/ 97 w 108"/>
                  <a:gd name="T47" fmla="*/ 96 h 100"/>
                  <a:gd name="T48" fmla="*/ 85 w 108"/>
                  <a:gd name="T49" fmla="*/ 99 h 100"/>
                  <a:gd name="T50" fmla="*/ 70 w 108"/>
                  <a:gd name="T51" fmla="*/ 73 h 100"/>
                  <a:gd name="T52" fmla="*/ 70 w 108"/>
                  <a:gd name="T53" fmla="*/ 68 h 100"/>
                  <a:gd name="T54" fmla="*/ 76 w 108"/>
                  <a:gd name="T55" fmla="*/ 45 h 100"/>
                  <a:gd name="T56" fmla="*/ 74 w 108"/>
                  <a:gd name="T57" fmla="*/ 46 h 100"/>
                  <a:gd name="T58" fmla="*/ 64 w 108"/>
                  <a:gd name="T59" fmla="*/ 48 h 100"/>
                  <a:gd name="T60" fmla="*/ 60 w 108"/>
                  <a:gd name="T61" fmla="*/ 46 h 100"/>
                  <a:gd name="T62" fmla="*/ 61 w 108"/>
                  <a:gd name="T63" fmla="*/ 42 h 100"/>
                  <a:gd name="T64" fmla="*/ 67 w 108"/>
                  <a:gd name="T65" fmla="*/ 26 h 100"/>
                  <a:gd name="T66" fmla="*/ 65 w 108"/>
                  <a:gd name="T67" fmla="*/ 18 h 100"/>
                  <a:gd name="T68" fmla="*/ 62 w 108"/>
                  <a:gd name="T69" fmla="*/ 14 h 100"/>
                  <a:gd name="T70" fmla="*/ 57 w 108"/>
                  <a:gd name="T71" fmla="*/ 18 h 100"/>
                  <a:gd name="T72" fmla="*/ 42 w 108"/>
                  <a:gd name="T73" fmla="*/ 38 h 100"/>
                  <a:gd name="T74" fmla="*/ 37 w 108"/>
                  <a:gd name="T75" fmla="*/ 58 h 100"/>
                  <a:gd name="T76" fmla="*/ 39 w 108"/>
                  <a:gd name="T77" fmla="*/ 67 h 100"/>
                  <a:gd name="T78" fmla="*/ 45 w 108"/>
                  <a:gd name="T79" fmla="*/ 70 h 100"/>
                  <a:gd name="T80" fmla="*/ 56 w 108"/>
                  <a:gd name="T81" fmla="*/ 64 h 100"/>
                  <a:gd name="T82" fmla="*/ 74 w 108"/>
                  <a:gd name="T83" fmla="*/ 48 h 100"/>
                  <a:gd name="T84" fmla="*/ 76 w 108"/>
                  <a:gd name="T85" fmla="*/ 45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8" h="100">
                    <a:moveTo>
                      <a:pt x="70" y="68"/>
                    </a:move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63" y="75"/>
                      <a:pt x="58" y="81"/>
                      <a:pt x="52" y="86"/>
                    </a:cubicBezTo>
                    <a:cubicBezTo>
                      <a:pt x="47" y="91"/>
                      <a:pt x="42" y="94"/>
                      <a:pt x="38" y="97"/>
                    </a:cubicBezTo>
                    <a:cubicBezTo>
                      <a:pt x="34" y="99"/>
                      <a:pt x="30" y="100"/>
                      <a:pt x="26" y="100"/>
                    </a:cubicBezTo>
                    <a:cubicBezTo>
                      <a:pt x="18" y="100"/>
                      <a:pt x="12" y="98"/>
                      <a:pt x="7" y="93"/>
                    </a:cubicBezTo>
                    <a:cubicBezTo>
                      <a:pt x="2" y="87"/>
                      <a:pt x="0" y="81"/>
                      <a:pt x="0" y="73"/>
                    </a:cubicBezTo>
                    <a:cubicBezTo>
                      <a:pt x="0" y="69"/>
                      <a:pt x="1" y="63"/>
                      <a:pt x="3" y="56"/>
                    </a:cubicBezTo>
                    <a:cubicBezTo>
                      <a:pt x="6" y="50"/>
                      <a:pt x="9" y="44"/>
                      <a:pt x="13" y="37"/>
                    </a:cubicBezTo>
                    <a:cubicBezTo>
                      <a:pt x="20" y="27"/>
                      <a:pt x="29" y="18"/>
                      <a:pt x="40" y="11"/>
                    </a:cubicBezTo>
                    <a:cubicBezTo>
                      <a:pt x="51" y="4"/>
                      <a:pt x="62" y="0"/>
                      <a:pt x="72" y="0"/>
                    </a:cubicBezTo>
                    <a:cubicBezTo>
                      <a:pt x="81" y="0"/>
                      <a:pt x="88" y="2"/>
                      <a:pt x="93" y="6"/>
                    </a:cubicBezTo>
                    <a:cubicBezTo>
                      <a:pt x="99" y="9"/>
                      <a:pt x="101" y="14"/>
                      <a:pt x="101" y="19"/>
                    </a:cubicBezTo>
                    <a:cubicBezTo>
                      <a:pt x="101" y="23"/>
                      <a:pt x="100" y="27"/>
                      <a:pt x="97" y="32"/>
                    </a:cubicBezTo>
                    <a:cubicBezTo>
                      <a:pt x="101" y="32"/>
                      <a:pt x="103" y="32"/>
                      <a:pt x="104" y="33"/>
                    </a:cubicBezTo>
                    <a:cubicBezTo>
                      <a:pt x="105" y="33"/>
                      <a:pt x="106" y="35"/>
                      <a:pt x="106" y="38"/>
                    </a:cubicBezTo>
                    <a:cubicBezTo>
                      <a:pt x="106" y="38"/>
                      <a:pt x="105" y="39"/>
                      <a:pt x="105" y="42"/>
                    </a:cubicBezTo>
                    <a:cubicBezTo>
                      <a:pt x="105" y="49"/>
                      <a:pt x="105" y="55"/>
                      <a:pt x="105" y="61"/>
                    </a:cubicBezTo>
                    <a:cubicBezTo>
                      <a:pt x="105" y="64"/>
                      <a:pt x="105" y="66"/>
                      <a:pt x="105" y="68"/>
                    </a:cubicBezTo>
                    <a:cubicBezTo>
                      <a:pt x="105" y="69"/>
                      <a:pt x="105" y="71"/>
                      <a:pt x="105" y="73"/>
                    </a:cubicBezTo>
                    <a:cubicBezTo>
                      <a:pt x="105" y="75"/>
                      <a:pt x="105" y="77"/>
                      <a:pt x="106" y="78"/>
                    </a:cubicBezTo>
                    <a:cubicBezTo>
                      <a:pt x="106" y="81"/>
                      <a:pt x="107" y="84"/>
                      <a:pt x="108" y="87"/>
                    </a:cubicBezTo>
                    <a:cubicBezTo>
                      <a:pt x="104" y="91"/>
                      <a:pt x="100" y="94"/>
                      <a:pt x="97" y="96"/>
                    </a:cubicBezTo>
                    <a:cubicBezTo>
                      <a:pt x="93" y="98"/>
                      <a:pt x="89" y="99"/>
                      <a:pt x="85" y="99"/>
                    </a:cubicBezTo>
                    <a:cubicBezTo>
                      <a:pt x="75" y="99"/>
                      <a:pt x="70" y="90"/>
                      <a:pt x="70" y="73"/>
                    </a:cubicBezTo>
                    <a:cubicBezTo>
                      <a:pt x="70" y="71"/>
                      <a:pt x="70" y="69"/>
                      <a:pt x="70" y="68"/>
                    </a:cubicBezTo>
                    <a:close/>
                    <a:moveTo>
                      <a:pt x="76" y="45"/>
                    </a:moveTo>
                    <a:cubicBezTo>
                      <a:pt x="74" y="46"/>
                      <a:pt x="74" y="46"/>
                      <a:pt x="74" y="46"/>
                    </a:cubicBezTo>
                    <a:cubicBezTo>
                      <a:pt x="69" y="47"/>
                      <a:pt x="66" y="48"/>
                      <a:pt x="64" y="48"/>
                    </a:cubicBezTo>
                    <a:cubicBezTo>
                      <a:pt x="61" y="48"/>
                      <a:pt x="60" y="47"/>
                      <a:pt x="60" y="46"/>
                    </a:cubicBezTo>
                    <a:cubicBezTo>
                      <a:pt x="60" y="45"/>
                      <a:pt x="60" y="44"/>
                      <a:pt x="61" y="42"/>
                    </a:cubicBezTo>
                    <a:cubicBezTo>
                      <a:pt x="65" y="36"/>
                      <a:pt x="67" y="31"/>
                      <a:pt x="67" y="26"/>
                    </a:cubicBezTo>
                    <a:cubicBezTo>
                      <a:pt x="67" y="23"/>
                      <a:pt x="66" y="20"/>
                      <a:pt x="65" y="18"/>
                    </a:cubicBezTo>
                    <a:cubicBezTo>
                      <a:pt x="64" y="15"/>
                      <a:pt x="63" y="14"/>
                      <a:pt x="62" y="14"/>
                    </a:cubicBezTo>
                    <a:cubicBezTo>
                      <a:pt x="61" y="14"/>
                      <a:pt x="59" y="15"/>
                      <a:pt x="57" y="18"/>
                    </a:cubicBezTo>
                    <a:cubicBezTo>
                      <a:pt x="51" y="24"/>
                      <a:pt x="46" y="31"/>
                      <a:pt x="42" y="38"/>
                    </a:cubicBezTo>
                    <a:cubicBezTo>
                      <a:pt x="39" y="46"/>
                      <a:pt x="37" y="52"/>
                      <a:pt x="37" y="58"/>
                    </a:cubicBezTo>
                    <a:cubicBezTo>
                      <a:pt x="37" y="61"/>
                      <a:pt x="38" y="64"/>
                      <a:pt x="39" y="67"/>
                    </a:cubicBezTo>
                    <a:cubicBezTo>
                      <a:pt x="41" y="69"/>
                      <a:pt x="43" y="70"/>
                      <a:pt x="45" y="70"/>
                    </a:cubicBezTo>
                    <a:cubicBezTo>
                      <a:pt x="47" y="70"/>
                      <a:pt x="50" y="68"/>
                      <a:pt x="56" y="64"/>
                    </a:cubicBezTo>
                    <a:cubicBezTo>
                      <a:pt x="61" y="60"/>
                      <a:pt x="67" y="54"/>
                      <a:pt x="74" y="48"/>
                    </a:cubicBezTo>
                    <a:cubicBezTo>
                      <a:pt x="76" y="45"/>
                      <a:pt x="76" y="45"/>
                      <a:pt x="76" y="45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8" name="Freeform 57"/>
              <p:cNvSpPr>
                <a:spLocks/>
              </p:cNvSpPr>
              <p:nvPr/>
            </p:nvSpPr>
            <p:spPr bwMode="auto">
              <a:xfrm>
                <a:off x="5932488" y="-1116013"/>
                <a:ext cx="206375" cy="447675"/>
              </a:xfrm>
              <a:custGeom>
                <a:avLst/>
                <a:gdLst>
                  <a:gd name="T0" fmla="*/ 18 w 62"/>
                  <a:gd name="T1" fmla="*/ 39 h 134"/>
                  <a:gd name="T2" fmla="*/ 18 w 62"/>
                  <a:gd name="T3" fmla="*/ 38 h 134"/>
                  <a:gd name="T4" fmla="*/ 30 w 62"/>
                  <a:gd name="T5" fmla="*/ 11 h 134"/>
                  <a:gd name="T6" fmla="*/ 36 w 62"/>
                  <a:gd name="T7" fmla="*/ 5 h 134"/>
                  <a:gd name="T8" fmla="*/ 51 w 62"/>
                  <a:gd name="T9" fmla="*/ 0 h 134"/>
                  <a:gd name="T10" fmla="*/ 57 w 62"/>
                  <a:gd name="T11" fmla="*/ 2 h 134"/>
                  <a:gd name="T12" fmla="*/ 59 w 62"/>
                  <a:gd name="T13" fmla="*/ 7 h 134"/>
                  <a:gd name="T14" fmla="*/ 56 w 62"/>
                  <a:gd name="T15" fmla="*/ 16 h 134"/>
                  <a:gd name="T16" fmla="*/ 49 w 62"/>
                  <a:gd name="T17" fmla="*/ 39 h 134"/>
                  <a:gd name="T18" fmla="*/ 52 w 62"/>
                  <a:gd name="T19" fmla="*/ 39 h 134"/>
                  <a:gd name="T20" fmla="*/ 60 w 62"/>
                  <a:gd name="T21" fmla="*/ 41 h 134"/>
                  <a:gd name="T22" fmla="*/ 62 w 62"/>
                  <a:gd name="T23" fmla="*/ 45 h 134"/>
                  <a:gd name="T24" fmla="*/ 59 w 62"/>
                  <a:gd name="T25" fmla="*/ 55 h 134"/>
                  <a:gd name="T26" fmla="*/ 52 w 62"/>
                  <a:gd name="T27" fmla="*/ 62 h 134"/>
                  <a:gd name="T28" fmla="*/ 41 w 62"/>
                  <a:gd name="T29" fmla="*/ 64 h 134"/>
                  <a:gd name="T30" fmla="*/ 38 w 62"/>
                  <a:gd name="T31" fmla="*/ 75 h 134"/>
                  <a:gd name="T32" fmla="*/ 36 w 62"/>
                  <a:gd name="T33" fmla="*/ 92 h 134"/>
                  <a:gd name="T34" fmla="*/ 36 w 62"/>
                  <a:gd name="T35" fmla="*/ 99 h 134"/>
                  <a:gd name="T36" fmla="*/ 51 w 62"/>
                  <a:gd name="T37" fmla="*/ 115 h 134"/>
                  <a:gd name="T38" fmla="*/ 52 w 62"/>
                  <a:gd name="T39" fmla="*/ 115 h 134"/>
                  <a:gd name="T40" fmla="*/ 52 w 62"/>
                  <a:gd name="T41" fmla="*/ 115 h 134"/>
                  <a:gd name="T42" fmla="*/ 54 w 62"/>
                  <a:gd name="T43" fmla="*/ 115 h 134"/>
                  <a:gd name="T44" fmla="*/ 50 w 62"/>
                  <a:gd name="T45" fmla="*/ 121 h 134"/>
                  <a:gd name="T46" fmla="*/ 43 w 62"/>
                  <a:gd name="T47" fmla="*/ 128 h 134"/>
                  <a:gd name="T48" fmla="*/ 33 w 62"/>
                  <a:gd name="T49" fmla="*/ 133 h 134"/>
                  <a:gd name="T50" fmla="*/ 24 w 62"/>
                  <a:gd name="T51" fmla="*/ 134 h 134"/>
                  <a:gd name="T52" fmla="*/ 6 w 62"/>
                  <a:gd name="T53" fmla="*/ 127 h 134"/>
                  <a:gd name="T54" fmla="*/ 0 w 62"/>
                  <a:gd name="T55" fmla="*/ 108 h 134"/>
                  <a:gd name="T56" fmla="*/ 2 w 62"/>
                  <a:gd name="T57" fmla="*/ 95 h 134"/>
                  <a:gd name="T58" fmla="*/ 7 w 62"/>
                  <a:gd name="T59" fmla="*/ 73 h 134"/>
                  <a:gd name="T60" fmla="*/ 8 w 62"/>
                  <a:gd name="T61" fmla="*/ 68 h 134"/>
                  <a:gd name="T62" fmla="*/ 9 w 62"/>
                  <a:gd name="T63" fmla="*/ 65 h 134"/>
                  <a:gd name="T64" fmla="*/ 3 w 62"/>
                  <a:gd name="T65" fmla="*/ 63 h 134"/>
                  <a:gd name="T66" fmla="*/ 2 w 62"/>
                  <a:gd name="T67" fmla="*/ 58 h 134"/>
                  <a:gd name="T68" fmla="*/ 7 w 62"/>
                  <a:gd name="T69" fmla="*/ 46 h 134"/>
                  <a:gd name="T70" fmla="*/ 18 w 62"/>
                  <a:gd name="T71" fmla="*/ 39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2" h="134">
                    <a:moveTo>
                      <a:pt x="18" y="39"/>
                    </a:moveTo>
                    <a:cubicBezTo>
                      <a:pt x="18" y="38"/>
                      <a:pt x="18" y="38"/>
                      <a:pt x="18" y="38"/>
                    </a:cubicBezTo>
                    <a:cubicBezTo>
                      <a:pt x="23" y="25"/>
                      <a:pt x="27" y="16"/>
                      <a:pt x="30" y="11"/>
                    </a:cubicBezTo>
                    <a:cubicBezTo>
                      <a:pt x="32" y="9"/>
                      <a:pt x="34" y="7"/>
                      <a:pt x="36" y="5"/>
                    </a:cubicBezTo>
                    <a:cubicBezTo>
                      <a:pt x="42" y="1"/>
                      <a:pt x="47" y="0"/>
                      <a:pt x="51" y="0"/>
                    </a:cubicBezTo>
                    <a:cubicBezTo>
                      <a:pt x="54" y="0"/>
                      <a:pt x="56" y="0"/>
                      <a:pt x="57" y="2"/>
                    </a:cubicBezTo>
                    <a:cubicBezTo>
                      <a:pt x="59" y="3"/>
                      <a:pt x="59" y="5"/>
                      <a:pt x="59" y="7"/>
                    </a:cubicBezTo>
                    <a:cubicBezTo>
                      <a:pt x="59" y="8"/>
                      <a:pt x="58" y="12"/>
                      <a:pt x="56" y="16"/>
                    </a:cubicBezTo>
                    <a:cubicBezTo>
                      <a:pt x="53" y="24"/>
                      <a:pt x="50" y="32"/>
                      <a:pt x="49" y="39"/>
                    </a:cubicBezTo>
                    <a:cubicBezTo>
                      <a:pt x="50" y="39"/>
                      <a:pt x="51" y="39"/>
                      <a:pt x="52" y="39"/>
                    </a:cubicBezTo>
                    <a:cubicBezTo>
                      <a:pt x="56" y="40"/>
                      <a:pt x="59" y="41"/>
                      <a:pt x="60" y="41"/>
                    </a:cubicBezTo>
                    <a:cubicBezTo>
                      <a:pt x="61" y="42"/>
                      <a:pt x="62" y="43"/>
                      <a:pt x="62" y="45"/>
                    </a:cubicBezTo>
                    <a:cubicBezTo>
                      <a:pt x="62" y="49"/>
                      <a:pt x="61" y="52"/>
                      <a:pt x="59" y="55"/>
                    </a:cubicBezTo>
                    <a:cubicBezTo>
                      <a:pt x="57" y="58"/>
                      <a:pt x="55" y="61"/>
                      <a:pt x="52" y="62"/>
                    </a:cubicBezTo>
                    <a:cubicBezTo>
                      <a:pt x="50" y="63"/>
                      <a:pt x="46" y="64"/>
                      <a:pt x="41" y="64"/>
                    </a:cubicBezTo>
                    <a:cubicBezTo>
                      <a:pt x="40" y="67"/>
                      <a:pt x="39" y="70"/>
                      <a:pt x="38" y="75"/>
                    </a:cubicBezTo>
                    <a:cubicBezTo>
                      <a:pt x="38" y="79"/>
                      <a:pt x="37" y="84"/>
                      <a:pt x="36" y="92"/>
                    </a:cubicBezTo>
                    <a:cubicBezTo>
                      <a:pt x="36" y="94"/>
                      <a:pt x="36" y="97"/>
                      <a:pt x="36" y="99"/>
                    </a:cubicBezTo>
                    <a:cubicBezTo>
                      <a:pt x="36" y="110"/>
                      <a:pt x="41" y="115"/>
                      <a:pt x="51" y="115"/>
                    </a:cubicBezTo>
                    <a:cubicBezTo>
                      <a:pt x="52" y="115"/>
                      <a:pt x="52" y="115"/>
                      <a:pt x="52" y="115"/>
                    </a:cubicBezTo>
                    <a:cubicBezTo>
                      <a:pt x="52" y="115"/>
                      <a:pt x="52" y="115"/>
                      <a:pt x="52" y="115"/>
                    </a:cubicBezTo>
                    <a:cubicBezTo>
                      <a:pt x="53" y="115"/>
                      <a:pt x="54" y="115"/>
                      <a:pt x="54" y="115"/>
                    </a:cubicBezTo>
                    <a:cubicBezTo>
                      <a:pt x="54" y="117"/>
                      <a:pt x="53" y="118"/>
                      <a:pt x="50" y="121"/>
                    </a:cubicBezTo>
                    <a:cubicBezTo>
                      <a:pt x="48" y="123"/>
                      <a:pt x="46" y="126"/>
                      <a:pt x="43" y="128"/>
                    </a:cubicBezTo>
                    <a:cubicBezTo>
                      <a:pt x="40" y="130"/>
                      <a:pt x="37" y="131"/>
                      <a:pt x="33" y="133"/>
                    </a:cubicBezTo>
                    <a:cubicBezTo>
                      <a:pt x="30" y="134"/>
                      <a:pt x="27" y="134"/>
                      <a:pt x="24" y="134"/>
                    </a:cubicBezTo>
                    <a:cubicBezTo>
                      <a:pt x="17" y="134"/>
                      <a:pt x="11" y="132"/>
                      <a:pt x="6" y="127"/>
                    </a:cubicBezTo>
                    <a:cubicBezTo>
                      <a:pt x="2" y="122"/>
                      <a:pt x="0" y="116"/>
                      <a:pt x="0" y="108"/>
                    </a:cubicBezTo>
                    <a:cubicBezTo>
                      <a:pt x="0" y="105"/>
                      <a:pt x="0" y="100"/>
                      <a:pt x="2" y="95"/>
                    </a:cubicBezTo>
                    <a:cubicBezTo>
                      <a:pt x="3" y="90"/>
                      <a:pt x="5" y="82"/>
                      <a:pt x="7" y="73"/>
                    </a:cubicBezTo>
                    <a:cubicBezTo>
                      <a:pt x="7" y="72"/>
                      <a:pt x="8" y="70"/>
                      <a:pt x="8" y="68"/>
                    </a:cubicBezTo>
                    <a:cubicBezTo>
                      <a:pt x="9" y="66"/>
                      <a:pt x="9" y="65"/>
                      <a:pt x="9" y="65"/>
                    </a:cubicBezTo>
                    <a:cubicBezTo>
                      <a:pt x="7" y="65"/>
                      <a:pt x="5" y="64"/>
                      <a:pt x="3" y="63"/>
                    </a:cubicBezTo>
                    <a:cubicBezTo>
                      <a:pt x="2" y="62"/>
                      <a:pt x="2" y="60"/>
                      <a:pt x="2" y="58"/>
                    </a:cubicBezTo>
                    <a:cubicBezTo>
                      <a:pt x="2" y="54"/>
                      <a:pt x="3" y="50"/>
                      <a:pt x="7" y="46"/>
                    </a:cubicBezTo>
                    <a:cubicBezTo>
                      <a:pt x="10" y="42"/>
                      <a:pt x="14" y="40"/>
                      <a:pt x="18" y="39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9" name="Freeform 58"/>
              <p:cNvSpPr>
                <a:spLocks noEditPoints="1"/>
              </p:cNvSpPr>
              <p:nvPr/>
            </p:nvSpPr>
            <p:spPr bwMode="auto">
              <a:xfrm>
                <a:off x="6165850" y="-989013"/>
                <a:ext cx="273050" cy="327025"/>
              </a:xfrm>
              <a:custGeom>
                <a:avLst/>
                <a:gdLst>
                  <a:gd name="T0" fmla="*/ 35 w 82"/>
                  <a:gd name="T1" fmla="*/ 70 h 98"/>
                  <a:gd name="T2" fmla="*/ 43 w 82"/>
                  <a:gd name="T3" fmla="*/ 76 h 98"/>
                  <a:gd name="T4" fmla="*/ 63 w 82"/>
                  <a:gd name="T5" fmla="*/ 67 h 98"/>
                  <a:gd name="T6" fmla="*/ 72 w 82"/>
                  <a:gd name="T7" fmla="*/ 62 h 98"/>
                  <a:gd name="T8" fmla="*/ 78 w 82"/>
                  <a:gd name="T9" fmla="*/ 64 h 98"/>
                  <a:gd name="T10" fmla="*/ 80 w 82"/>
                  <a:gd name="T11" fmla="*/ 67 h 98"/>
                  <a:gd name="T12" fmla="*/ 77 w 82"/>
                  <a:gd name="T13" fmla="*/ 72 h 98"/>
                  <a:gd name="T14" fmla="*/ 65 w 82"/>
                  <a:gd name="T15" fmla="*/ 82 h 98"/>
                  <a:gd name="T16" fmla="*/ 52 w 82"/>
                  <a:gd name="T17" fmla="*/ 91 h 98"/>
                  <a:gd name="T18" fmla="*/ 39 w 82"/>
                  <a:gd name="T19" fmla="*/ 96 h 98"/>
                  <a:gd name="T20" fmla="*/ 27 w 82"/>
                  <a:gd name="T21" fmla="*/ 98 h 98"/>
                  <a:gd name="T22" fmla="*/ 7 w 82"/>
                  <a:gd name="T23" fmla="*/ 91 h 98"/>
                  <a:gd name="T24" fmla="*/ 0 w 82"/>
                  <a:gd name="T25" fmla="*/ 72 h 98"/>
                  <a:gd name="T26" fmla="*/ 4 w 82"/>
                  <a:gd name="T27" fmla="*/ 51 h 98"/>
                  <a:gd name="T28" fmla="*/ 14 w 82"/>
                  <a:gd name="T29" fmla="*/ 29 h 98"/>
                  <a:gd name="T30" fmla="*/ 34 w 82"/>
                  <a:gd name="T31" fmla="*/ 10 h 98"/>
                  <a:gd name="T32" fmla="*/ 61 w 82"/>
                  <a:gd name="T33" fmla="*/ 0 h 98"/>
                  <a:gd name="T34" fmla="*/ 76 w 82"/>
                  <a:gd name="T35" fmla="*/ 6 h 98"/>
                  <a:gd name="T36" fmla="*/ 82 w 82"/>
                  <a:gd name="T37" fmla="*/ 23 h 98"/>
                  <a:gd name="T38" fmla="*/ 77 w 82"/>
                  <a:gd name="T39" fmla="*/ 40 h 98"/>
                  <a:gd name="T40" fmla="*/ 65 w 82"/>
                  <a:gd name="T41" fmla="*/ 57 h 98"/>
                  <a:gd name="T42" fmla="*/ 51 w 82"/>
                  <a:gd name="T43" fmla="*/ 68 h 98"/>
                  <a:gd name="T44" fmla="*/ 40 w 82"/>
                  <a:gd name="T45" fmla="*/ 71 h 98"/>
                  <a:gd name="T46" fmla="*/ 35 w 82"/>
                  <a:gd name="T47" fmla="*/ 70 h 98"/>
                  <a:gd name="T48" fmla="*/ 35 w 82"/>
                  <a:gd name="T49" fmla="*/ 67 h 98"/>
                  <a:gd name="T50" fmla="*/ 42 w 82"/>
                  <a:gd name="T51" fmla="*/ 61 h 98"/>
                  <a:gd name="T52" fmla="*/ 50 w 82"/>
                  <a:gd name="T53" fmla="*/ 46 h 98"/>
                  <a:gd name="T54" fmla="*/ 54 w 82"/>
                  <a:gd name="T55" fmla="*/ 33 h 98"/>
                  <a:gd name="T56" fmla="*/ 55 w 82"/>
                  <a:gd name="T57" fmla="*/ 21 h 98"/>
                  <a:gd name="T58" fmla="*/ 53 w 82"/>
                  <a:gd name="T59" fmla="*/ 15 h 98"/>
                  <a:gd name="T60" fmla="*/ 43 w 82"/>
                  <a:gd name="T61" fmla="*/ 29 h 98"/>
                  <a:gd name="T62" fmla="*/ 36 w 82"/>
                  <a:gd name="T63" fmla="*/ 46 h 98"/>
                  <a:gd name="T64" fmla="*/ 34 w 82"/>
                  <a:gd name="T65" fmla="*/ 61 h 98"/>
                  <a:gd name="T66" fmla="*/ 35 w 82"/>
                  <a:gd name="T67" fmla="*/ 67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2" h="98">
                    <a:moveTo>
                      <a:pt x="35" y="70"/>
                    </a:moveTo>
                    <a:cubicBezTo>
                      <a:pt x="36" y="74"/>
                      <a:pt x="38" y="76"/>
                      <a:pt x="43" y="76"/>
                    </a:cubicBezTo>
                    <a:cubicBezTo>
                      <a:pt x="48" y="76"/>
                      <a:pt x="55" y="73"/>
                      <a:pt x="63" y="67"/>
                    </a:cubicBezTo>
                    <a:cubicBezTo>
                      <a:pt x="67" y="64"/>
                      <a:pt x="70" y="62"/>
                      <a:pt x="72" y="62"/>
                    </a:cubicBezTo>
                    <a:cubicBezTo>
                      <a:pt x="74" y="62"/>
                      <a:pt x="76" y="63"/>
                      <a:pt x="78" y="64"/>
                    </a:cubicBezTo>
                    <a:cubicBezTo>
                      <a:pt x="79" y="65"/>
                      <a:pt x="80" y="66"/>
                      <a:pt x="80" y="67"/>
                    </a:cubicBezTo>
                    <a:cubicBezTo>
                      <a:pt x="80" y="68"/>
                      <a:pt x="79" y="70"/>
                      <a:pt x="77" y="72"/>
                    </a:cubicBezTo>
                    <a:cubicBezTo>
                      <a:pt x="74" y="76"/>
                      <a:pt x="70" y="79"/>
                      <a:pt x="65" y="82"/>
                    </a:cubicBezTo>
                    <a:cubicBezTo>
                      <a:pt x="60" y="86"/>
                      <a:pt x="56" y="89"/>
                      <a:pt x="52" y="91"/>
                    </a:cubicBezTo>
                    <a:cubicBezTo>
                      <a:pt x="47" y="93"/>
                      <a:pt x="43" y="95"/>
                      <a:pt x="39" y="96"/>
                    </a:cubicBezTo>
                    <a:cubicBezTo>
                      <a:pt x="34" y="98"/>
                      <a:pt x="31" y="98"/>
                      <a:pt x="27" y="98"/>
                    </a:cubicBezTo>
                    <a:cubicBezTo>
                      <a:pt x="19" y="98"/>
                      <a:pt x="12" y="96"/>
                      <a:pt x="7" y="91"/>
                    </a:cubicBezTo>
                    <a:cubicBezTo>
                      <a:pt x="2" y="86"/>
                      <a:pt x="0" y="80"/>
                      <a:pt x="0" y="72"/>
                    </a:cubicBezTo>
                    <a:cubicBezTo>
                      <a:pt x="0" y="66"/>
                      <a:pt x="1" y="59"/>
                      <a:pt x="4" y="51"/>
                    </a:cubicBezTo>
                    <a:cubicBezTo>
                      <a:pt x="6" y="43"/>
                      <a:pt x="10" y="36"/>
                      <a:pt x="14" y="29"/>
                    </a:cubicBezTo>
                    <a:cubicBezTo>
                      <a:pt x="20" y="22"/>
                      <a:pt x="26" y="15"/>
                      <a:pt x="34" y="10"/>
                    </a:cubicBezTo>
                    <a:cubicBezTo>
                      <a:pt x="43" y="3"/>
                      <a:pt x="53" y="0"/>
                      <a:pt x="61" y="0"/>
                    </a:cubicBezTo>
                    <a:cubicBezTo>
                      <a:pt x="68" y="0"/>
                      <a:pt x="73" y="2"/>
                      <a:pt x="76" y="6"/>
                    </a:cubicBezTo>
                    <a:cubicBezTo>
                      <a:pt x="80" y="10"/>
                      <a:pt x="82" y="16"/>
                      <a:pt x="82" y="23"/>
                    </a:cubicBezTo>
                    <a:cubicBezTo>
                      <a:pt x="82" y="28"/>
                      <a:pt x="80" y="34"/>
                      <a:pt x="77" y="40"/>
                    </a:cubicBezTo>
                    <a:cubicBezTo>
                      <a:pt x="74" y="46"/>
                      <a:pt x="70" y="51"/>
                      <a:pt x="65" y="57"/>
                    </a:cubicBezTo>
                    <a:cubicBezTo>
                      <a:pt x="60" y="61"/>
                      <a:pt x="56" y="65"/>
                      <a:pt x="51" y="68"/>
                    </a:cubicBezTo>
                    <a:cubicBezTo>
                      <a:pt x="47" y="70"/>
                      <a:pt x="43" y="71"/>
                      <a:pt x="40" y="71"/>
                    </a:cubicBezTo>
                    <a:cubicBezTo>
                      <a:pt x="38" y="71"/>
                      <a:pt x="37" y="71"/>
                      <a:pt x="35" y="70"/>
                    </a:cubicBezTo>
                    <a:close/>
                    <a:moveTo>
                      <a:pt x="35" y="67"/>
                    </a:moveTo>
                    <a:cubicBezTo>
                      <a:pt x="38" y="65"/>
                      <a:pt x="40" y="63"/>
                      <a:pt x="42" y="61"/>
                    </a:cubicBezTo>
                    <a:cubicBezTo>
                      <a:pt x="45" y="56"/>
                      <a:pt x="48" y="51"/>
                      <a:pt x="50" y="46"/>
                    </a:cubicBezTo>
                    <a:cubicBezTo>
                      <a:pt x="52" y="42"/>
                      <a:pt x="53" y="38"/>
                      <a:pt x="54" y="33"/>
                    </a:cubicBezTo>
                    <a:cubicBezTo>
                      <a:pt x="55" y="29"/>
                      <a:pt x="55" y="24"/>
                      <a:pt x="55" y="21"/>
                    </a:cubicBezTo>
                    <a:cubicBezTo>
                      <a:pt x="55" y="17"/>
                      <a:pt x="54" y="15"/>
                      <a:pt x="53" y="15"/>
                    </a:cubicBezTo>
                    <a:cubicBezTo>
                      <a:pt x="51" y="15"/>
                      <a:pt x="47" y="20"/>
                      <a:pt x="43" y="29"/>
                    </a:cubicBezTo>
                    <a:cubicBezTo>
                      <a:pt x="40" y="35"/>
                      <a:pt x="38" y="41"/>
                      <a:pt x="36" y="46"/>
                    </a:cubicBezTo>
                    <a:cubicBezTo>
                      <a:pt x="35" y="52"/>
                      <a:pt x="34" y="57"/>
                      <a:pt x="34" y="61"/>
                    </a:cubicBezTo>
                    <a:cubicBezTo>
                      <a:pt x="34" y="62"/>
                      <a:pt x="34" y="64"/>
                      <a:pt x="35" y="67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90" name="Freeform 59"/>
              <p:cNvSpPr>
                <a:spLocks/>
              </p:cNvSpPr>
              <p:nvPr/>
            </p:nvSpPr>
            <p:spPr bwMode="auto">
              <a:xfrm>
                <a:off x="3213100" y="-1473200"/>
                <a:ext cx="841375" cy="866775"/>
              </a:xfrm>
              <a:custGeom>
                <a:avLst/>
                <a:gdLst>
                  <a:gd name="T0" fmla="*/ 54 w 253"/>
                  <a:gd name="T1" fmla="*/ 260 h 260"/>
                  <a:gd name="T2" fmla="*/ 56 w 253"/>
                  <a:gd name="T3" fmla="*/ 66 h 260"/>
                  <a:gd name="T4" fmla="*/ 237 w 253"/>
                  <a:gd name="T5" fmla="*/ 28 h 260"/>
                  <a:gd name="T6" fmla="*/ 104 w 253"/>
                  <a:gd name="T7" fmla="*/ 92 h 260"/>
                  <a:gd name="T8" fmla="*/ 54 w 253"/>
                  <a:gd name="T9" fmla="*/ 26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3" h="260">
                    <a:moveTo>
                      <a:pt x="54" y="260"/>
                    </a:moveTo>
                    <a:cubicBezTo>
                      <a:pt x="0" y="200"/>
                      <a:pt x="5" y="120"/>
                      <a:pt x="56" y="66"/>
                    </a:cubicBezTo>
                    <a:cubicBezTo>
                      <a:pt x="109" y="10"/>
                      <a:pt x="228" y="0"/>
                      <a:pt x="237" y="28"/>
                    </a:cubicBezTo>
                    <a:cubicBezTo>
                      <a:pt x="253" y="84"/>
                      <a:pt x="139" y="86"/>
                      <a:pt x="104" y="92"/>
                    </a:cubicBezTo>
                    <a:cubicBezTo>
                      <a:pt x="46" y="102"/>
                      <a:pt x="16" y="163"/>
                      <a:pt x="54" y="260"/>
                    </a:cubicBez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22" name="Rectangle 21"/>
          <p:cNvSpPr/>
          <p:nvPr/>
        </p:nvSpPr>
        <p:spPr>
          <a:xfrm>
            <a:off x="5440380" y="1646307"/>
            <a:ext cx="2050559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lvents are a </a:t>
            </a:r>
            <a:r>
              <a:rPr lang="en-GB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n-renewable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source</a:t>
            </a:r>
          </a:p>
        </p:txBody>
      </p:sp>
      <p:sp>
        <p:nvSpPr>
          <p:cNvPr id="81" name="Rectangle 80"/>
          <p:cNvSpPr/>
          <p:nvPr/>
        </p:nvSpPr>
        <p:spPr>
          <a:xfrm>
            <a:off x="5404783" y="3533073"/>
            <a:ext cx="314211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y present a</a:t>
            </a:r>
            <a:b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nagement control burden and – even if small – </a:t>
            </a:r>
            <a:r>
              <a:rPr lang="en-GB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risk</a:t>
            </a:r>
            <a:endParaRPr lang="en-GB" sz="15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4" name="Group 11"/>
          <p:cNvGrpSpPr>
            <a:grpSpLocks noChangeAspect="1"/>
          </p:cNvGrpSpPr>
          <p:nvPr/>
        </p:nvGrpSpPr>
        <p:grpSpPr bwMode="auto">
          <a:xfrm>
            <a:off x="6509892" y="2144579"/>
            <a:ext cx="998226" cy="998226"/>
            <a:chOff x="1957" y="697"/>
            <a:chExt cx="1846" cy="1846"/>
          </a:xfrm>
        </p:grpSpPr>
        <p:sp>
          <p:nvSpPr>
            <p:cNvPr id="26" name="Oval 12"/>
            <p:cNvSpPr>
              <a:spLocks noChangeArrowheads="1"/>
            </p:cNvSpPr>
            <p:nvPr/>
          </p:nvSpPr>
          <p:spPr bwMode="auto">
            <a:xfrm>
              <a:off x="1957" y="697"/>
              <a:ext cx="1846" cy="1846"/>
            </a:xfrm>
            <a:prstGeom prst="ellipse">
              <a:avLst/>
            </a:prstGeom>
            <a:solidFill>
              <a:schemeClr val="accent6"/>
            </a:solidFill>
            <a:ln w="11113" cap="rnd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3"/>
            <p:cNvSpPr>
              <a:spLocks/>
            </p:cNvSpPr>
            <p:nvPr/>
          </p:nvSpPr>
          <p:spPr bwMode="auto">
            <a:xfrm>
              <a:off x="2170" y="960"/>
              <a:ext cx="1379" cy="1351"/>
            </a:xfrm>
            <a:custGeom>
              <a:avLst/>
              <a:gdLst>
                <a:gd name="T0" fmla="*/ 441 w 843"/>
                <a:gd name="T1" fmla="*/ 6 h 825"/>
                <a:gd name="T2" fmla="*/ 460 w 843"/>
                <a:gd name="T3" fmla="*/ 6 h 825"/>
                <a:gd name="T4" fmla="*/ 491 w 843"/>
                <a:gd name="T5" fmla="*/ 9 h 825"/>
                <a:gd name="T6" fmla="*/ 582 w 843"/>
                <a:gd name="T7" fmla="*/ 31 h 825"/>
                <a:gd name="T8" fmla="*/ 752 w 843"/>
                <a:gd name="T9" fmla="*/ 153 h 825"/>
                <a:gd name="T10" fmla="*/ 834 w 843"/>
                <a:gd name="T11" fmla="*/ 322 h 825"/>
                <a:gd name="T12" fmla="*/ 840 w 843"/>
                <a:gd name="T13" fmla="*/ 358 h 825"/>
                <a:gd name="T14" fmla="*/ 843 w 843"/>
                <a:gd name="T15" fmla="*/ 395 h 825"/>
                <a:gd name="T16" fmla="*/ 843 w 843"/>
                <a:gd name="T17" fmla="*/ 402 h 825"/>
                <a:gd name="T18" fmla="*/ 843 w 843"/>
                <a:gd name="T19" fmla="*/ 404 h 825"/>
                <a:gd name="T20" fmla="*/ 843 w 843"/>
                <a:gd name="T21" fmla="*/ 432 h 825"/>
                <a:gd name="T22" fmla="*/ 841 w 843"/>
                <a:gd name="T23" fmla="*/ 458 h 825"/>
                <a:gd name="T24" fmla="*/ 834 w 843"/>
                <a:gd name="T25" fmla="*/ 496 h 825"/>
                <a:gd name="T26" fmla="*/ 728 w 843"/>
                <a:gd name="T27" fmla="*/ 696 h 825"/>
                <a:gd name="T28" fmla="*/ 424 w 843"/>
                <a:gd name="T29" fmla="*/ 824 h 825"/>
                <a:gd name="T30" fmla="*/ 396 w 843"/>
                <a:gd name="T31" fmla="*/ 823 h 825"/>
                <a:gd name="T32" fmla="*/ 368 w 843"/>
                <a:gd name="T33" fmla="*/ 820 h 825"/>
                <a:gd name="T34" fmla="*/ 326 w 843"/>
                <a:gd name="T35" fmla="*/ 812 h 825"/>
                <a:gd name="T36" fmla="*/ 123 w 843"/>
                <a:gd name="T37" fmla="*/ 697 h 825"/>
                <a:gd name="T38" fmla="*/ 11 w 843"/>
                <a:gd name="T39" fmla="*/ 493 h 825"/>
                <a:gd name="T40" fmla="*/ 3 w 843"/>
                <a:gd name="T41" fmla="*/ 445 h 825"/>
                <a:gd name="T42" fmla="*/ 0 w 843"/>
                <a:gd name="T43" fmla="*/ 409 h 825"/>
                <a:gd name="T44" fmla="*/ 0 w 843"/>
                <a:gd name="T45" fmla="*/ 396 h 825"/>
                <a:gd name="T46" fmla="*/ 1 w 843"/>
                <a:gd name="T47" fmla="*/ 370 h 825"/>
                <a:gd name="T48" fmla="*/ 2 w 843"/>
                <a:gd name="T49" fmla="*/ 352 h 825"/>
                <a:gd name="T50" fmla="*/ 5 w 843"/>
                <a:gd name="T51" fmla="*/ 329 h 825"/>
                <a:gd name="T52" fmla="*/ 136 w 843"/>
                <a:gd name="T53" fmla="*/ 80 h 825"/>
                <a:gd name="T54" fmla="*/ 171 w 843"/>
                <a:gd name="T55" fmla="*/ 49 h 825"/>
                <a:gd name="T56" fmla="*/ 186 w 843"/>
                <a:gd name="T57" fmla="*/ 38 h 825"/>
                <a:gd name="T58" fmla="*/ 223 w 843"/>
                <a:gd name="T59" fmla="*/ 14 h 825"/>
                <a:gd name="T60" fmla="*/ 276 w 843"/>
                <a:gd name="T61" fmla="*/ 101 h 825"/>
                <a:gd name="T62" fmla="*/ 272 w 843"/>
                <a:gd name="T63" fmla="*/ 104 h 825"/>
                <a:gd name="T64" fmla="*/ 242 w 843"/>
                <a:gd name="T65" fmla="*/ 121 h 825"/>
                <a:gd name="T66" fmla="*/ 230 w 843"/>
                <a:gd name="T67" fmla="*/ 129 h 825"/>
                <a:gd name="T68" fmla="*/ 202 w 843"/>
                <a:gd name="T69" fmla="*/ 152 h 825"/>
                <a:gd name="T70" fmla="*/ 92 w 843"/>
                <a:gd name="T71" fmla="*/ 344 h 825"/>
                <a:gd name="T72" fmla="*/ 89 w 843"/>
                <a:gd name="T73" fmla="*/ 361 h 825"/>
                <a:gd name="T74" fmla="*/ 87 w 843"/>
                <a:gd name="T75" fmla="*/ 374 h 825"/>
                <a:gd name="T76" fmla="*/ 86 w 843"/>
                <a:gd name="T77" fmla="*/ 399 h 825"/>
                <a:gd name="T78" fmla="*/ 86 w 843"/>
                <a:gd name="T79" fmla="*/ 403 h 825"/>
                <a:gd name="T80" fmla="*/ 86 w 843"/>
                <a:gd name="T81" fmla="*/ 403 h 825"/>
                <a:gd name="T82" fmla="*/ 86 w 843"/>
                <a:gd name="T83" fmla="*/ 417 h 825"/>
                <a:gd name="T84" fmla="*/ 176 w 843"/>
                <a:gd name="T85" fmla="*/ 646 h 825"/>
                <a:gd name="T86" fmla="*/ 343 w 843"/>
                <a:gd name="T87" fmla="*/ 750 h 825"/>
                <a:gd name="T88" fmla="*/ 378 w 843"/>
                <a:gd name="T89" fmla="*/ 758 h 825"/>
                <a:gd name="T90" fmla="*/ 401 w 843"/>
                <a:gd name="T91" fmla="*/ 761 h 825"/>
                <a:gd name="T92" fmla="*/ 426 w 843"/>
                <a:gd name="T93" fmla="*/ 763 h 825"/>
                <a:gd name="T94" fmla="*/ 694 w 843"/>
                <a:gd name="T95" fmla="*/ 661 h 825"/>
                <a:gd name="T96" fmla="*/ 795 w 843"/>
                <a:gd name="T97" fmla="*/ 487 h 825"/>
                <a:gd name="T98" fmla="*/ 802 w 843"/>
                <a:gd name="T99" fmla="*/ 453 h 825"/>
                <a:gd name="T100" fmla="*/ 805 w 843"/>
                <a:gd name="T101" fmla="*/ 430 h 825"/>
                <a:gd name="T102" fmla="*/ 807 w 843"/>
                <a:gd name="T103" fmla="*/ 403 h 825"/>
                <a:gd name="T104" fmla="*/ 807 w 843"/>
                <a:gd name="T105" fmla="*/ 402 h 825"/>
                <a:gd name="T106" fmla="*/ 807 w 843"/>
                <a:gd name="T107" fmla="*/ 395 h 825"/>
                <a:gd name="T108" fmla="*/ 805 w 843"/>
                <a:gd name="T109" fmla="*/ 362 h 825"/>
                <a:gd name="T110" fmla="*/ 801 w 843"/>
                <a:gd name="T111" fmla="*/ 329 h 825"/>
                <a:gd name="T112" fmla="*/ 731 w 843"/>
                <a:gd name="T113" fmla="*/ 169 h 825"/>
                <a:gd name="T114" fmla="*/ 576 w 843"/>
                <a:gd name="T115" fmla="*/ 48 h 825"/>
                <a:gd name="T116" fmla="*/ 459 w 843"/>
                <a:gd name="T117" fmla="*/ 19 h 825"/>
                <a:gd name="T118" fmla="*/ 440 w 843"/>
                <a:gd name="T119" fmla="*/ 18 h 825"/>
                <a:gd name="T120" fmla="*/ 428 w 843"/>
                <a:gd name="T121" fmla="*/ 12 h 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43" h="825">
                  <a:moveTo>
                    <a:pt x="434" y="6"/>
                  </a:moveTo>
                  <a:cubicBezTo>
                    <a:pt x="434" y="6"/>
                    <a:pt x="436" y="6"/>
                    <a:pt x="441" y="6"/>
                  </a:cubicBezTo>
                  <a:cubicBezTo>
                    <a:pt x="443" y="6"/>
                    <a:pt x="445" y="6"/>
                    <a:pt x="449" y="6"/>
                  </a:cubicBezTo>
                  <a:cubicBezTo>
                    <a:pt x="452" y="6"/>
                    <a:pt x="455" y="6"/>
                    <a:pt x="460" y="6"/>
                  </a:cubicBezTo>
                  <a:cubicBezTo>
                    <a:pt x="464" y="6"/>
                    <a:pt x="469" y="7"/>
                    <a:pt x="474" y="7"/>
                  </a:cubicBezTo>
                  <a:cubicBezTo>
                    <a:pt x="479" y="7"/>
                    <a:pt x="485" y="8"/>
                    <a:pt x="491" y="9"/>
                  </a:cubicBezTo>
                  <a:cubicBezTo>
                    <a:pt x="503" y="10"/>
                    <a:pt x="517" y="13"/>
                    <a:pt x="532" y="16"/>
                  </a:cubicBezTo>
                  <a:cubicBezTo>
                    <a:pt x="547" y="20"/>
                    <a:pt x="564" y="24"/>
                    <a:pt x="582" y="31"/>
                  </a:cubicBezTo>
                  <a:cubicBezTo>
                    <a:pt x="600" y="38"/>
                    <a:pt x="619" y="46"/>
                    <a:pt x="638" y="57"/>
                  </a:cubicBezTo>
                  <a:cubicBezTo>
                    <a:pt x="677" y="79"/>
                    <a:pt x="717" y="110"/>
                    <a:pt x="752" y="153"/>
                  </a:cubicBezTo>
                  <a:cubicBezTo>
                    <a:pt x="786" y="195"/>
                    <a:pt x="816" y="249"/>
                    <a:pt x="831" y="310"/>
                  </a:cubicBezTo>
                  <a:cubicBezTo>
                    <a:pt x="832" y="314"/>
                    <a:pt x="833" y="318"/>
                    <a:pt x="834" y="322"/>
                  </a:cubicBezTo>
                  <a:cubicBezTo>
                    <a:pt x="835" y="326"/>
                    <a:pt x="835" y="330"/>
                    <a:pt x="836" y="334"/>
                  </a:cubicBezTo>
                  <a:cubicBezTo>
                    <a:pt x="838" y="342"/>
                    <a:pt x="839" y="350"/>
                    <a:pt x="840" y="358"/>
                  </a:cubicBezTo>
                  <a:cubicBezTo>
                    <a:pt x="841" y="366"/>
                    <a:pt x="842" y="374"/>
                    <a:pt x="842" y="382"/>
                  </a:cubicBezTo>
                  <a:cubicBezTo>
                    <a:pt x="843" y="386"/>
                    <a:pt x="843" y="390"/>
                    <a:pt x="843" y="395"/>
                  </a:cubicBezTo>
                  <a:cubicBezTo>
                    <a:pt x="843" y="401"/>
                    <a:pt x="843" y="401"/>
                    <a:pt x="843" y="401"/>
                  </a:cubicBezTo>
                  <a:cubicBezTo>
                    <a:pt x="843" y="402"/>
                    <a:pt x="843" y="402"/>
                    <a:pt x="843" y="402"/>
                  </a:cubicBezTo>
                  <a:cubicBezTo>
                    <a:pt x="843" y="402"/>
                    <a:pt x="843" y="403"/>
                    <a:pt x="843" y="404"/>
                  </a:cubicBezTo>
                  <a:cubicBezTo>
                    <a:pt x="843" y="404"/>
                    <a:pt x="843" y="404"/>
                    <a:pt x="843" y="404"/>
                  </a:cubicBezTo>
                  <a:cubicBezTo>
                    <a:pt x="843" y="407"/>
                    <a:pt x="843" y="407"/>
                    <a:pt x="843" y="407"/>
                  </a:cubicBezTo>
                  <a:cubicBezTo>
                    <a:pt x="843" y="415"/>
                    <a:pt x="843" y="423"/>
                    <a:pt x="843" y="432"/>
                  </a:cubicBezTo>
                  <a:cubicBezTo>
                    <a:pt x="842" y="436"/>
                    <a:pt x="842" y="441"/>
                    <a:pt x="842" y="445"/>
                  </a:cubicBezTo>
                  <a:cubicBezTo>
                    <a:pt x="842" y="449"/>
                    <a:pt x="841" y="453"/>
                    <a:pt x="841" y="458"/>
                  </a:cubicBezTo>
                  <a:cubicBezTo>
                    <a:pt x="840" y="466"/>
                    <a:pt x="838" y="475"/>
                    <a:pt x="837" y="483"/>
                  </a:cubicBezTo>
                  <a:cubicBezTo>
                    <a:pt x="836" y="487"/>
                    <a:pt x="835" y="492"/>
                    <a:pt x="834" y="496"/>
                  </a:cubicBezTo>
                  <a:cubicBezTo>
                    <a:pt x="833" y="500"/>
                    <a:pt x="833" y="504"/>
                    <a:pt x="832" y="509"/>
                  </a:cubicBezTo>
                  <a:cubicBezTo>
                    <a:pt x="815" y="576"/>
                    <a:pt x="780" y="642"/>
                    <a:pt x="728" y="696"/>
                  </a:cubicBezTo>
                  <a:cubicBezTo>
                    <a:pt x="677" y="749"/>
                    <a:pt x="610" y="790"/>
                    <a:pt x="537" y="810"/>
                  </a:cubicBezTo>
                  <a:cubicBezTo>
                    <a:pt x="500" y="819"/>
                    <a:pt x="463" y="825"/>
                    <a:pt x="424" y="824"/>
                  </a:cubicBezTo>
                  <a:cubicBezTo>
                    <a:pt x="420" y="824"/>
                    <a:pt x="416" y="824"/>
                    <a:pt x="411" y="824"/>
                  </a:cubicBezTo>
                  <a:cubicBezTo>
                    <a:pt x="396" y="823"/>
                    <a:pt x="396" y="823"/>
                    <a:pt x="396" y="823"/>
                  </a:cubicBezTo>
                  <a:cubicBezTo>
                    <a:pt x="391" y="823"/>
                    <a:pt x="387" y="823"/>
                    <a:pt x="382" y="822"/>
                  </a:cubicBezTo>
                  <a:cubicBezTo>
                    <a:pt x="377" y="822"/>
                    <a:pt x="372" y="821"/>
                    <a:pt x="368" y="820"/>
                  </a:cubicBezTo>
                  <a:cubicBezTo>
                    <a:pt x="358" y="819"/>
                    <a:pt x="349" y="818"/>
                    <a:pt x="340" y="816"/>
                  </a:cubicBezTo>
                  <a:cubicBezTo>
                    <a:pt x="335" y="814"/>
                    <a:pt x="331" y="814"/>
                    <a:pt x="326" y="812"/>
                  </a:cubicBezTo>
                  <a:cubicBezTo>
                    <a:pt x="312" y="809"/>
                    <a:pt x="312" y="809"/>
                    <a:pt x="312" y="809"/>
                  </a:cubicBezTo>
                  <a:cubicBezTo>
                    <a:pt x="240" y="788"/>
                    <a:pt x="173" y="749"/>
                    <a:pt x="123" y="697"/>
                  </a:cubicBezTo>
                  <a:cubicBezTo>
                    <a:pt x="72" y="645"/>
                    <a:pt x="36" y="582"/>
                    <a:pt x="18" y="517"/>
                  </a:cubicBezTo>
                  <a:cubicBezTo>
                    <a:pt x="15" y="509"/>
                    <a:pt x="13" y="501"/>
                    <a:pt x="11" y="493"/>
                  </a:cubicBezTo>
                  <a:cubicBezTo>
                    <a:pt x="9" y="485"/>
                    <a:pt x="8" y="477"/>
                    <a:pt x="6" y="469"/>
                  </a:cubicBezTo>
                  <a:cubicBezTo>
                    <a:pt x="5" y="461"/>
                    <a:pt x="4" y="453"/>
                    <a:pt x="3" y="445"/>
                  </a:cubicBezTo>
                  <a:cubicBezTo>
                    <a:pt x="2" y="437"/>
                    <a:pt x="1" y="429"/>
                    <a:pt x="1" y="421"/>
                  </a:cubicBezTo>
                  <a:cubicBezTo>
                    <a:pt x="1" y="417"/>
                    <a:pt x="1" y="413"/>
                    <a:pt x="0" y="409"/>
                  </a:cubicBezTo>
                  <a:cubicBezTo>
                    <a:pt x="0" y="403"/>
                    <a:pt x="0" y="403"/>
                    <a:pt x="0" y="403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389"/>
                    <a:pt x="1" y="382"/>
                    <a:pt x="1" y="376"/>
                  </a:cubicBezTo>
                  <a:cubicBezTo>
                    <a:pt x="1" y="374"/>
                    <a:pt x="1" y="372"/>
                    <a:pt x="1" y="370"/>
                  </a:cubicBezTo>
                  <a:cubicBezTo>
                    <a:pt x="1" y="364"/>
                    <a:pt x="1" y="364"/>
                    <a:pt x="1" y="364"/>
                  </a:cubicBezTo>
                  <a:cubicBezTo>
                    <a:pt x="2" y="360"/>
                    <a:pt x="2" y="356"/>
                    <a:pt x="2" y="352"/>
                  </a:cubicBezTo>
                  <a:cubicBezTo>
                    <a:pt x="3" y="348"/>
                    <a:pt x="3" y="344"/>
                    <a:pt x="4" y="340"/>
                  </a:cubicBezTo>
                  <a:cubicBezTo>
                    <a:pt x="4" y="337"/>
                    <a:pt x="5" y="333"/>
                    <a:pt x="5" y="329"/>
                  </a:cubicBezTo>
                  <a:cubicBezTo>
                    <a:pt x="14" y="271"/>
                    <a:pt x="35" y="220"/>
                    <a:pt x="58" y="178"/>
                  </a:cubicBezTo>
                  <a:cubicBezTo>
                    <a:pt x="83" y="136"/>
                    <a:pt x="110" y="104"/>
                    <a:pt x="136" y="80"/>
                  </a:cubicBezTo>
                  <a:cubicBezTo>
                    <a:pt x="142" y="74"/>
                    <a:pt x="148" y="68"/>
                    <a:pt x="154" y="63"/>
                  </a:cubicBezTo>
                  <a:cubicBezTo>
                    <a:pt x="160" y="58"/>
                    <a:pt x="165" y="53"/>
                    <a:pt x="171" y="49"/>
                  </a:cubicBezTo>
                  <a:cubicBezTo>
                    <a:pt x="173" y="47"/>
                    <a:pt x="176" y="45"/>
                    <a:pt x="179" y="43"/>
                  </a:cubicBezTo>
                  <a:cubicBezTo>
                    <a:pt x="181" y="42"/>
                    <a:pt x="184" y="40"/>
                    <a:pt x="186" y="38"/>
                  </a:cubicBezTo>
                  <a:cubicBezTo>
                    <a:pt x="191" y="35"/>
                    <a:pt x="195" y="32"/>
                    <a:pt x="199" y="29"/>
                  </a:cubicBezTo>
                  <a:cubicBezTo>
                    <a:pt x="215" y="19"/>
                    <a:pt x="223" y="14"/>
                    <a:pt x="223" y="14"/>
                  </a:cubicBezTo>
                  <a:cubicBezTo>
                    <a:pt x="247" y="0"/>
                    <a:pt x="279" y="7"/>
                    <a:pt x="293" y="31"/>
                  </a:cubicBezTo>
                  <a:cubicBezTo>
                    <a:pt x="308" y="55"/>
                    <a:pt x="300" y="87"/>
                    <a:pt x="276" y="101"/>
                  </a:cubicBezTo>
                  <a:cubicBezTo>
                    <a:pt x="276" y="102"/>
                    <a:pt x="275" y="102"/>
                    <a:pt x="275" y="102"/>
                  </a:cubicBezTo>
                  <a:cubicBezTo>
                    <a:pt x="272" y="104"/>
                    <a:pt x="272" y="104"/>
                    <a:pt x="272" y="104"/>
                  </a:cubicBezTo>
                  <a:cubicBezTo>
                    <a:pt x="272" y="104"/>
                    <a:pt x="265" y="108"/>
                    <a:pt x="253" y="115"/>
                  </a:cubicBezTo>
                  <a:cubicBezTo>
                    <a:pt x="250" y="117"/>
                    <a:pt x="246" y="119"/>
                    <a:pt x="242" y="121"/>
                  </a:cubicBezTo>
                  <a:cubicBezTo>
                    <a:pt x="241" y="122"/>
                    <a:pt x="239" y="124"/>
                    <a:pt x="237" y="125"/>
                  </a:cubicBezTo>
                  <a:cubicBezTo>
                    <a:pt x="235" y="126"/>
                    <a:pt x="232" y="128"/>
                    <a:pt x="230" y="129"/>
                  </a:cubicBezTo>
                  <a:cubicBezTo>
                    <a:pt x="226" y="132"/>
                    <a:pt x="222" y="136"/>
                    <a:pt x="217" y="139"/>
                  </a:cubicBezTo>
                  <a:cubicBezTo>
                    <a:pt x="212" y="143"/>
                    <a:pt x="207" y="147"/>
                    <a:pt x="202" y="152"/>
                  </a:cubicBezTo>
                  <a:cubicBezTo>
                    <a:pt x="182" y="170"/>
                    <a:pt x="159" y="194"/>
                    <a:pt x="139" y="226"/>
                  </a:cubicBezTo>
                  <a:cubicBezTo>
                    <a:pt x="119" y="258"/>
                    <a:pt x="101" y="298"/>
                    <a:pt x="92" y="344"/>
                  </a:cubicBezTo>
                  <a:cubicBezTo>
                    <a:pt x="91" y="347"/>
                    <a:pt x="91" y="350"/>
                    <a:pt x="90" y="353"/>
                  </a:cubicBezTo>
                  <a:cubicBezTo>
                    <a:pt x="90" y="356"/>
                    <a:pt x="90" y="358"/>
                    <a:pt x="89" y="361"/>
                  </a:cubicBezTo>
                  <a:cubicBezTo>
                    <a:pt x="89" y="364"/>
                    <a:pt x="88" y="367"/>
                    <a:pt x="88" y="370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87" y="375"/>
                    <a:pt x="87" y="377"/>
                    <a:pt x="87" y="379"/>
                  </a:cubicBezTo>
                  <a:cubicBezTo>
                    <a:pt x="87" y="385"/>
                    <a:pt x="86" y="392"/>
                    <a:pt x="86" y="399"/>
                  </a:cubicBezTo>
                  <a:cubicBezTo>
                    <a:pt x="86" y="402"/>
                    <a:pt x="86" y="402"/>
                    <a:pt x="86" y="402"/>
                  </a:cubicBezTo>
                  <a:cubicBezTo>
                    <a:pt x="86" y="403"/>
                    <a:pt x="86" y="403"/>
                    <a:pt x="86" y="403"/>
                  </a:cubicBezTo>
                  <a:cubicBezTo>
                    <a:pt x="86" y="404"/>
                    <a:pt x="86" y="404"/>
                    <a:pt x="86" y="404"/>
                  </a:cubicBezTo>
                  <a:cubicBezTo>
                    <a:pt x="86" y="405"/>
                    <a:pt x="86" y="402"/>
                    <a:pt x="86" y="403"/>
                  </a:cubicBezTo>
                  <a:cubicBezTo>
                    <a:pt x="86" y="408"/>
                    <a:pt x="86" y="408"/>
                    <a:pt x="86" y="408"/>
                  </a:cubicBezTo>
                  <a:cubicBezTo>
                    <a:pt x="86" y="411"/>
                    <a:pt x="86" y="414"/>
                    <a:pt x="86" y="417"/>
                  </a:cubicBezTo>
                  <a:cubicBezTo>
                    <a:pt x="86" y="443"/>
                    <a:pt x="89" y="469"/>
                    <a:pt x="96" y="496"/>
                  </a:cubicBezTo>
                  <a:cubicBezTo>
                    <a:pt x="109" y="548"/>
                    <a:pt x="136" y="602"/>
                    <a:pt x="176" y="646"/>
                  </a:cubicBezTo>
                  <a:cubicBezTo>
                    <a:pt x="217" y="691"/>
                    <a:pt x="270" y="726"/>
                    <a:pt x="331" y="746"/>
                  </a:cubicBezTo>
                  <a:cubicBezTo>
                    <a:pt x="343" y="750"/>
                    <a:pt x="343" y="750"/>
                    <a:pt x="343" y="750"/>
                  </a:cubicBezTo>
                  <a:cubicBezTo>
                    <a:pt x="346" y="751"/>
                    <a:pt x="350" y="752"/>
                    <a:pt x="354" y="753"/>
                  </a:cubicBezTo>
                  <a:cubicBezTo>
                    <a:pt x="362" y="755"/>
                    <a:pt x="370" y="756"/>
                    <a:pt x="378" y="758"/>
                  </a:cubicBezTo>
                  <a:cubicBezTo>
                    <a:pt x="382" y="759"/>
                    <a:pt x="386" y="759"/>
                    <a:pt x="390" y="760"/>
                  </a:cubicBezTo>
                  <a:cubicBezTo>
                    <a:pt x="394" y="760"/>
                    <a:pt x="398" y="761"/>
                    <a:pt x="401" y="761"/>
                  </a:cubicBezTo>
                  <a:cubicBezTo>
                    <a:pt x="413" y="762"/>
                    <a:pt x="413" y="762"/>
                    <a:pt x="413" y="762"/>
                  </a:cubicBezTo>
                  <a:cubicBezTo>
                    <a:pt x="417" y="763"/>
                    <a:pt x="422" y="763"/>
                    <a:pt x="426" y="763"/>
                  </a:cubicBezTo>
                  <a:cubicBezTo>
                    <a:pt x="458" y="765"/>
                    <a:pt x="491" y="761"/>
                    <a:pt x="523" y="754"/>
                  </a:cubicBezTo>
                  <a:cubicBezTo>
                    <a:pt x="587" y="740"/>
                    <a:pt x="647" y="707"/>
                    <a:pt x="694" y="661"/>
                  </a:cubicBezTo>
                  <a:cubicBezTo>
                    <a:pt x="741" y="616"/>
                    <a:pt x="775" y="559"/>
                    <a:pt x="792" y="498"/>
                  </a:cubicBezTo>
                  <a:cubicBezTo>
                    <a:pt x="794" y="494"/>
                    <a:pt x="794" y="491"/>
                    <a:pt x="795" y="487"/>
                  </a:cubicBezTo>
                  <a:cubicBezTo>
                    <a:pt x="796" y="483"/>
                    <a:pt x="797" y="479"/>
                    <a:pt x="798" y="475"/>
                  </a:cubicBezTo>
                  <a:cubicBezTo>
                    <a:pt x="799" y="468"/>
                    <a:pt x="801" y="460"/>
                    <a:pt x="802" y="453"/>
                  </a:cubicBezTo>
                  <a:cubicBezTo>
                    <a:pt x="803" y="449"/>
                    <a:pt x="803" y="445"/>
                    <a:pt x="804" y="441"/>
                  </a:cubicBezTo>
                  <a:cubicBezTo>
                    <a:pt x="804" y="437"/>
                    <a:pt x="805" y="434"/>
                    <a:pt x="805" y="430"/>
                  </a:cubicBezTo>
                  <a:cubicBezTo>
                    <a:pt x="806" y="423"/>
                    <a:pt x="806" y="414"/>
                    <a:pt x="807" y="406"/>
                  </a:cubicBezTo>
                  <a:cubicBezTo>
                    <a:pt x="807" y="403"/>
                    <a:pt x="807" y="403"/>
                    <a:pt x="807" y="403"/>
                  </a:cubicBezTo>
                  <a:cubicBezTo>
                    <a:pt x="807" y="403"/>
                    <a:pt x="807" y="403"/>
                    <a:pt x="807" y="403"/>
                  </a:cubicBezTo>
                  <a:cubicBezTo>
                    <a:pt x="807" y="402"/>
                    <a:pt x="807" y="403"/>
                    <a:pt x="807" y="402"/>
                  </a:cubicBezTo>
                  <a:cubicBezTo>
                    <a:pt x="807" y="401"/>
                    <a:pt x="807" y="401"/>
                    <a:pt x="807" y="401"/>
                  </a:cubicBezTo>
                  <a:cubicBezTo>
                    <a:pt x="807" y="395"/>
                    <a:pt x="807" y="395"/>
                    <a:pt x="807" y="395"/>
                  </a:cubicBezTo>
                  <a:cubicBezTo>
                    <a:pt x="807" y="392"/>
                    <a:pt x="807" y="388"/>
                    <a:pt x="807" y="384"/>
                  </a:cubicBezTo>
                  <a:cubicBezTo>
                    <a:pt x="806" y="376"/>
                    <a:pt x="806" y="369"/>
                    <a:pt x="805" y="362"/>
                  </a:cubicBezTo>
                  <a:cubicBezTo>
                    <a:pt x="804" y="354"/>
                    <a:pt x="804" y="347"/>
                    <a:pt x="803" y="340"/>
                  </a:cubicBezTo>
                  <a:cubicBezTo>
                    <a:pt x="802" y="336"/>
                    <a:pt x="801" y="332"/>
                    <a:pt x="801" y="329"/>
                  </a:cubicBezTo>
                  <a:cubicBezTo>
                    <a:pt x="800" y="325"/>
                    <a:pt x="799" y="321"/>
                    <a:pt x="799" y="318"/>
                  </a:cubicBezTo>
                  <a:cubicBezTo>
                    <a:pt x="787" y="261"/>
                    <a:pt x="762" y="210"/>
                    <a:pt x="731" y="169"/>
                  </a:cubicBezTo>
                  <a:cubicBezTo>
                    <a:pt x="700" y="128"/>
                    <a:pt x="663" y="97"/>
                    <a:pt x="628" y="75"/>
                  </a:cubicBezTo>
                  <a:cubicBezTo>
                    <a:pt x="610" y="64"/>
                    <a:pt x="592" y="55"/>
                    <a:pt x="576" y="48"/>
                  </a:cubicBezTo>
                  <a:cubicBezTo>
                    <a:pt x="559" y="41"/>
                    <a:pt x="543" y="36"/>
                    <a:pt x="528" y="32"/>
                  </a:cubicBezTo>
                  <a:cubicBezTo>
                    <a:pt x="499" y="24"/>
                    <a:pt x="475" y="21"/>
                    <a:pt x="459" y="19"/>
                  </a:cubicBezTo>
                  <a:cubicBezTo>
                    <a:pt x="455" y="19"/>
                    <a:pt x="451" y="19"/>
                    <a:pt x="448" y="19"/>
                  </a:cubicBezTo>
                  <a:cubicBezTo>
                    <a:pt x="445" y="18"/>
                    <a:pt x="442" y="18"/>
                    <a:pt x="440" y="18"/>
                  </a:cubicBezTo>
                  <a:cubicBezTo>
                    <a:pt x="436" y="18"/>
                    <a:pt x="434" y="18"/>
                    <a:pt x="434" y="18"/>
                  </a:cubicBezTo>
                  <a:cubicBezTo>
                    <a:pt x="430" y="18"/>
                    <a:pt x="428" y="15"/>
                    <a:pt x="428" y="12"/>
                  </a:cubicBezTo>
                  <a:cubicBezTo>
                    <a:pt x="428" y="8"/>
                    <a:pt x="431" y="6"/>
                    <a:pt x="434" y="6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4"/>
            <p:cNvSpPr>
              <a:spLocks/>
            </p:cNvSpPr>
            <p:nvPr/>
          </p:nvSpPr>
          <p:spPr bwMode="auto">
            <a:xfrm>
              <a:off x="2283" y="910"/>
              <a:ext cx="415" cy="428"/>
            </a:xfrm>
            <a:custGeom>
              <a:avLst/>
              <a:gdLst>
                <a:gd name="T0" fmla="*/ 188 w 415"/>
                <a:gd name="T1" fmla="*/ 428 h 428"/>
                <a:gd name="T2" fmla="*/ 268 w 415"/>
                <a:gd name="T3" fmla="*/ 160 h 428"/>
                <a:gd name="T4" fmla="*/ 0 w 415"/>
                <a:gd name="T5" fmla="*/ 80 h 428"/>
                <a:gd name="T6" fmla="*/ 147 w 415"/>
                <a:gd name="T7" fmla="*/ 0 h 428"/>
                <a:gd name="T8" fmla="*/ 415 w 415"/>
                <a:gd name="T9" fmla="*/ 80 h 428"/>
                <a:gd name="T10" fmla="*/ 335 w 415"/>
                <a:gd name="T11" fmla="*/ 348 h 428"/>
                <a:gd name="T12" fmla="*/ 188 w 415"/>
                <a:gd name="T13" fmla="*/ 42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5" h="428">
                  <a:moveTo>
                    <a:pt x="188" y="428"/>
                  </a:moveTo>
                  <a:lnTo>
                    <a:pt x="268" y="160"/>
                  </a:lnTo>
                  <a:lnTo>
                    <a:pt x="0" y="80"/>
                  </a:lnTo>
                  <a:lnTo>
                    <a:pt x="147" y="0"/>
                  </a:lnTo>
                  <a:lnTo>
                    <a:pt x="415" y="80"/>
                  </a:lnTo>
                  <a:lnTo>
                    <a:pt x="335" y="348"/>
                  </a:lnTo>
                  <a:lnTo>
                    <a:pt x="188" y="42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5"/>
            <p:cNvSpPr>
              <a:spLocks/>
            </p:cNvSpPr>
            <p:nvPr/>
          </p:nvSpPr>
          <p:spPr bwMode="auto">
            <a:xfrm>
              <a:off x="2155" y="895"/>
              <a:ext cx="1450" cy="1450"/>
            </a:xfrm>
            <a:custGeom>
              <a:avLst/>
              <a:gdLst>
                <a:gd name="T0" fmla="*/ 792 w 886"/>
                <a:gd name="T1" fmla="*/ 0 h 886"/>
                <a:gd name="T2" fmla="*/ 0 w 886"/>
                <a:gd name="T3" fmla="*/ 792 h 886"/>
                <a:gd name="T4" fmla="*/ 94 w 886"/>
                <a:gd name="T5" fmla="*/ 886 h 886"/>
                <a:gd name="T6" fmla="*/ 886 w 886"/>
                <a:gd name="T7" fmla="*/ 93 h 886"/>
                <a:gd name="T8" fmla="*/ 792 w 886"/>
                <a:gd name="T9" fmla="*/ 0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6" h="886">
                  <a:moveTo>
                    <a:pt x="792" y="0"/>
                  </a:moveTo>
                  <a:cubicBezTo>
                    <a:pt x="0" y="792"/>
                    <a:pt x="0" y="792"/>
                    <a:pt x="0" y="792"/>
                  </a:cubicBezTo>
                  <a:cubicBezTo>
                    <a:pt x="28" y="827"/>
                    <a:pt x="59" y="858"/>
                    <a:pt x="94" y="886"/>
                  </a:cubicBezTo>
                  <a:cubicBezTo>
                    <a:pt x="886" y="93"/>
                    <a:pt x="886" y="93"/>
                    <a:pt x="886" y="93"/>
                  </a:cubicBezTo>
                  <a:cubicBezTo>
                    <a:pt x="858" y="59"/>
                    <a:pt x="827" y="27"/>
                    <a:pt x="792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7110472" y="2497957"/>
            <a:ext cx="1178848" cy="1178848"/>
            <a:chOff x="7276198" y="2440432"/>
            <a:chExt cx="1178848" cy="1178848"/>
          </a:xfrm>
        </p:grpSpPr>
        <p:sp>
          <p:nvSpPr>
            <p:cNvPr id="90" name="Oval 12"/>
            <p:cNvSpPr>
              <a:spLocks noChangeArrowheads="1"/>
            </p:cNvSpPr>
            <p:nvPr/>
          </p:nvSpPr>
          <p:spPr bwMode="auto">
            <a:xfrm>
              <a:off x="7276198" y="2440432"/>
              <a:ext cx="1178848" cy="1178848"/>
            </a:xfrm>
            <a:prstGeom prst="ellipse">
              <a:avLst/>
            </a:prstGeom>
            <a:solidFill>
              <a:schemeClr val="accent1"/>
            </a:solidFill>
            <a:ln w="11113" cap="rnd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1" name="Group 18"/>
            <p:cNvGrpSpPr>
              <a:grpSpLocks noChangeAspect="1"/>
            </p:cNvGrpSpPr>
            <p:nvPr/>
          </p:nvGrpSpPr>
          <p:grpSpPr bwMode="auto">
            <a:xfrm>
              <a:off x="7475097" y="2634511"/>
              <a:ext cx="781050" cy="674688"/>
              <a:chOff x="2634" y="1406"/>
              <a:chExt cx="492" cy="425"/>
            </a:xfrm>
            <a:solidFill>
              <a:schemeClr val="accent4"/>
            </a:solidFill>
          </p:grpSpPr>
          <p:sp>
            <p:nvSpPr>
              <p:cNvPr id="33" name="Freeform 19"/>
              <p:cNvSpPr>
                <a:spLocks noEditPoints="1"/>
              </p:cNvSpPr>
              <p:nvPr/>
            </p:nvSpPr>
            <p:spPr bwMode="auto">
              <a:xfrm>
                <a:off x="2634" y="1406"/>
                <a:ext cx="492" cy="425"/>
              </a:xfrm>
              <a:custGeom>
                <a:avLst/>
                <a:gdLst>
                  <a:gd name="T0" fmla="*/ 291 w 298"/>
                  <a:gd name="T1" fmla="*/ 235 h 257"/>
                  <a:gd name="T2" fmla="*/ 162 w 298"/>
                  <a:gd name="T3" fmla="*/ 12 h 257"/>
                  <a:gd name="T4" fmla="*/ 136 w 298"/>
                  <a:gd name="T5" fmla="*/ 12 h 257"/>
                  <a:gd name="T6" fmla="*/ 8 w 298"/>
                  <a:gd name="T7" fmla="*/ 235 h 257"/>
                  <a:gd name="T8" fmla="*/ 21 w 298"/>
                  <a:gd name="T9" fmla="*/ 257 h 257"/>
                  <a:gd name="T10" fmla="*/ 278 w 298"/>
                  <a:gd name="T11" fmla="*/ 257 h 257"/>
                  <a:gd name="T12" fmla="*/ 291 w 298"/>
                  <a:gd name="T13" fmla="*/ 235 h 257"/>
                  <a:gd name="T14" fmla="*/ 30 w 298"/>
                  <a:gd name="T15" fmla="*/ 234 h 257"/>
                  <a:gd name="T16" fmla="*/ 149 w 298"/>
                  <a:gd name="T17" fmla="*/ 29 h 257"/>
                  <a:gd name="T18" fmla="*/ 268 w 298"/>
                  <a:gd name="T19" fmla="*/ 234 h 257"/>
                  <a:gd name="T20" fmla="*/ 30 w 298"/>
                  <a:gd name="T21" fmla="*/ 234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8" h="257">
                    <a:moveTo>
                      <a:pt x="291" y="235"/>
                    </a:moveTo>
                    <a:cubicBezTo>
                      <a:pt x="162" y="12"/>
                      <a:pt x="162" y="12"/>
                      <a:pt x="162" y="12"/>
                    </a:cubicBezTo>
                    <a:cubicBezTo>
                      <a:pt x="155" y="0"/>
                      <a:pt x="143" y="0"/>
                      <a:pt x="136" y="12"/>
                    </a:cubicBezTo>
                    <a:cubicBezTo>
                      <a:pt x="8" y="235"/>
                      <a:pt x="8" y="235"/>
                      <a:pt x="8" y="235"/>
                    </a:cubicBezTo>
                    <a:cubicBezTo>
                      <a:pt x="0" y="247"/>
                      <a:pt x="6" y="257"/>
                      <a:pt x="21" y="257"/>
                    </a:cubicBezTo>
                    <a:cubicBezTo>
                      <a:pt x="278" y="257"/>
                      <a:pt x="278" y="257"/>
                      <a:pt x="278" y="257"/>
                    </a:cubicBezTo>
                    <a:cubicBezTo>
                      <a:pt x="292" y="257"/>
                      <a:pt x="298" y="247"/>
                      <a:pt x="291" y="235"/>
                    </a:cubicBezTo>
                    <a:close/>
                    <a:moveTo>
                      <a:pt x="30" y="234"/>
                    </a:moveTo>
                    <a:cubicBezTo>
                      <a:pt x="149" y="29"/>
                      <a:pt x="149" y="29"/>
                      <a:pt x="149" y="29"/>
                    </a:cubicBezTo>
                    <a:cubicBezTo>
                      <a:pt x="268" y="234"/>
                      <a:pt x="268" y="234"/>
                      <a:pt x="268" y="234"/>
                    </a:cubicBezTo>
                    <a:lnTo>
                      <a:pt x="30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20"/>
              <p:cNvSpPr>
                <a:spLocks noEditPoints="1"/>
              </p:cNvSpPr>
              <p:nvPr/>
            </p:nvSpPr>
            <p:spPr bwMode="auto">
              <a:xfrm>
                <a:off x="2849" y="1512"/>
                <a:ext cx="62" cy="273"/>
              </a:xfrm>
              <a:custGeom>
                <a:avLst/>
                <a:gdLst>
                  <a:gd name="T0" fmla="*/ 19 w 38"/>
                  <a:gd name="T1" fmla="*/ 165 h 165"/>
                  <a:gd name="T2" fmla="*/ 2 w 38"/>
                  <a:gd name="T3" fmla="*/ 140 h 165"/>
                  <a:gd name="T4" fmla="*/ 19 w 38"/>
                  <a:gd name="T5" fmla="*/ 114 h 165"/>
                  <a:gd name="T6" fmla="*/ 37 w 38"/>
                  <a:gd name="T7" fmla="*/ 140 h 165"/>
                  <a:gd name="T8" fmla="*/ 19 w 38"/>
                  <a:gd name="T9" fmla="*/ 165 h 165"/>
                  <a:gd name="T10" fmla="*/ 30 w 38"/>
                  <a:gd name="T11" fmla="*/ 78 h 165"/>
                  <a:gd name="T12" fmla="*/ 19 w 38"/>
                  <a:gd name="T13" fmla="*/ 97 h 165"/>
                  <a:gd name="T14" fmla="*/ 8 w 38"/>
                  <a:gd name="T15" fmla="*/ 78 h 165"/>
                  <a:gd name="T16" fmla="*/ 0 w 38"/>
                  <a:gd name="T17" fmla="*/ 35 h 165"/>
                  <a:gd name="T18" fmla="*/ 19 w 38"/>
                  <a:gd name="T19" fmla="*/ 0 h 165"/>
                  <a:gd name="T20" fmla="*/ 38 w 38"/>
                  <a:gd name="T21" fmla="*/ 35 h 165"/>
                  <a:gd name="T22" fmla="*/ 30 w 38"/>
                  <a:gd name="T23" fmla="*/ 78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165">
                    <a:moveTo>
                      <a:pt x="19" y="165"/>
                    </a:moveTo>
                    <a:cubicBezTo>
                      <a:pt x="9" y="165"/>
                      <a:pt x="2" y="153"/>
                      <a:pt x="2" y="140"/>
                    </a:cubicBezTo>
                    <a:cubicBezTo>
                      <a:pt x="2" y="126"/>
                      <a:pt x="9" y="114"/>
                      <a:pt x="19" y="114"/>
                    </a:cubicBezTo>
                    <a:cubicBezTo>
                      <a:pt x="29" y="114"/>
                      <a:pt x="37" y="126"/>
                      <a:pt x="37" y="140"/>
                    </a:cubicBezTo>
                    <a:cubicBezTo>
                      <a:pt x="37" y="153"/>
                      <a:pt x="29" y="165"/>
                      <a:pt x="19" y="165"/>
                    </a:cubicBezTo>
                    <a:close/>
                    <a:moveTo>
                      <a:pt x="30" y="78"/>
                    </a:moveTo>
                    <a:cubicBezTo>
                      <a:pt x="29" y="82"/>
                      <a:pt x="23" y="97"/>
                      <a:pt x="19" y="97"/>
                    </a:cubicBezTo>
                    <a:cubicBezTo>
                      <a:pt x="15" y="97"/>
                      <a:pt x="10" y="82"/>
                      <a:pt x="8" y="78"/>
                    </a:cubicBezTo>
                    <a:cubicBezTo>
                      <a:pt x="4" y="65"/>
                      <a:pt x="0" y="49"/>
                      <a:pt x="0" y="35"/>
                    </a:cubicBezTo>
                    <a:cubicBezTo>
                      <a:pt x="0" y="18"/>
                      <a:pt x="6" y="0"/>
                      <a:pt x="19" y="0"/>
                    </a:cubicBezTo>
                    <a:cubicBezTo>
                      <a:pt x="32" y="0"/>
                      <a:pt x="38" y="18"/>
                      <a:pt x="38" y="35"/>
                    </a:cubicBezTo>
                    <a:cubicBezTo>
                      <a:pt x="38" y="49"/>
                      <a:pt x="34" y="65"/>
                      <a:pt x="30" y="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28" name="Oval 12"/>
          <p:cNvSpPr>
            <a:spLocks noChangeArrowheads="1"/>
          </p:cNvSpPr>
          <p:nvPr/>
        </p:nvSpPr>
        <p:spPr bwMode="auto">
          <a:xfrm>
            <a:off x="8069609" y="2951316"/>
            <a:ext cx="439422" cy="439422"/>
          </a:xfrm>
          <a:prstGeom prst="ellipse">
            <a:avLst/>
          </a:prstGeom>
          <a:solidFill>
            <a:schemeClr val="accent1">
              <a:alpha val="40000"/>
            </a:schemeClr>
          </a:solidFill>
          <a:ln w="11113" cap="rnd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8" name="Group 37"/>
          <p:cNvGrpSpPr/>
          <p:nvPr/>
        </p:nvGrpSpPr>
        <p:grpSpPr>
          <a:xfrm>
            <a:off x="3842464" y="1882095"/>
            <a:ext cx="1152128" cy="1152128"/>
            <a:chOff x="3842464" y="1882095"/>
            <a:chExt cx="1152128" cy="1152128"/>
          </a:xfrm>
        </p:grpSpPr>
        <p:sp>
          <p:nvSpPr>
            <p:cNvPr id="70" name="Oval 69"/>
            <p:cNvSpPr/>
            <p:nvPr/>
          </p:nvSpPr>
          <p:spPr>
            <a:xfrm>
              <a:off x="3842464" y="1882095"/>
              <a:ext cx="1152128" cy="115212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1" name="Group 20"/>
            <p:cNvGrpSpPr/>
            <p:nvPr/>
          </p:nvGrpSpPr>
          <p:grpSpPr>
            <a:xfrm rot="21285507">
              <a:off x="4104169" y="1902970"/>
              <a:ext cx="817998" cy="914914"/>
              <a:chOff x="4559490" y="1976648"/>
              <a:chExt cx="817998" cy="914914"/>
            </a:xfrm>
          </p:grpSpPr>
          <p:grpSp>
            <p:nvGrpSpPr>
              <p:cNvPr id="109" name="Group 108"/>
              <p:cNvGrpSpPr/>
              <p:nvPr/>
            </p:nvGrpSpPr>
            <p:grpSpPr>
              <a:xfrm>
                <a:off x="4559490" y="1976648"/>
                <a:ext cx="817998" cy="914914"/>
                <a:chOff x="-2617060" y="-3626482"/>
                <a:chExt cx="2794000" cy="3125031"/>
              </a:xfrm>
            </p:grpSpPr>
            <p:sp>
              <p:nvSpPr>
                <p:cNvPr id="85" name="Freeform 9"/>
                <p:cNvSpPr>
                  <a:spLocks/>
                </p:cNvSpPr>
                <p:nvPr/>
              </p:nvSpPr>
              <p:spPr bwMode="auto">
                <a:xfrm>
                  <a:off x="-2596422" y="-3593894"/>
                  <a:ext cx="2752725" cy="3086100"/>
                </a:xfrm>
                <a:custGeom>
                  <a:avLst/>
                  <a:gdLst>
                    <a:gd name="T0" fmla="*/ 322 w 2513"/>
                    <a:gd name="T1" fmla="*/ 350 h 2815"/>
                    <a:gd name="T2" fmla="*/ 263 w 2513"/>
                    <a:gd name="T3" fmla="*/ 554 h 2815"/>
                    <a:gd name="T4" fmla="*/ 262 w 2513"/>
                    <a:gd name="T5" fmla="*/ 557 h 2815"/>
                    <a:gd name="T6" fmla="*/ 262 w 2513"/>
                    <a:gd name="T7" fmla="*/ 556 h 2815"/>
                    <a:gd name="T8" fmla="*/ 205 w 2513"/>
                    <a:gd name="T9" fmla="*/ 1646 h 2815"/>
                    <a:gd name="T10" fmla="*/ 217 w 2513"/>
                    <a:gd name="T11" fmla="*/ 2208 h 2815"/>
                    <a:gd name="T12" fmla="*/ 130 w 2513"/>
                    <a:gd name="T13" fmla="*/ 2646 h 2815"/>
                    <a:gd name="T14" fmla="*/ 173 w 2513"/>
                    <a:gd name="T15" fmla="*/ 2447 h 2815"/>
                    <a:gd name="T16" fmla="*/ 94 w 2513"/>
                    <a:gd name="T17" fmla="*/ 2576 h 2815"/>
                    <a:gd name="T18" fmla="*/ 0 w 2513"/>
                    <a:gd name="T19" fmla="*/ 2737 h 2815"/>
                    <a:gd name="T20" fmla="*/ 1029 w 2513"/>
                    <a:gd name="T21" fmla="*/ 2754 h 2815"/>
                    <a:gd name="T22" fmla="*/ 2513 w 2513"/>
                    <a:gd name="T23" fmla="*/ 2735 h 2815"/>
                    <a:gd name="T24" fmla="*/ 2438 w 2513"/>
                    <a:gd name="T25" fmla="*/ 2603 h 2815"/>
                    <a:gd name="T26" fmla="*/ 2335 w 2513"/>
                    <a:gd name="T27" fmla="*/ 2398 h 2815"/>
                    <a:gd name="T28" fmla="*/ 2377 w 2513"/>
                    <a:gd name="T29" fmla="*/ 2654 h 2815"/>
                    <a:gd name="T30" fmla="*/ 2334 w 2513"/>
                    <a:gd name="T31" fmla="*/ 1732 h 2815"/>
                    <a:gd name="T32" fmla="*/ 2318 w 2513"/>
                    <a:gd name="T33" fmla="*/ 521 h 2815"/>
                    <a:gd name="T34" fmla="*/ 2318 w 2513"/>
                    <a:gd name="T35" fmla="*/ 521 h 2815"/>
                    <a:gd name="T36" fmla="*/ 2317 w 2513"/>
                    <a:gd name="T37" fmla="*/ 518 h 2815"/>
                    <a:gd name="T38" fmla="*/ 2259 w 2513"/>
                    <a:gd name="T39" fmla="*/ 271 h 2815"/>
                    <a:gd name="T40" fmla="*/ 2239 w 2513"/>
                    <a:gd name="T41" fmla="*/ 464 h 2815"/>
                    <a:gd name="T42" fmla="*/ 2319 w 2513"/>
                    <a:gd name="T43" fmla="*/ 122 h 2815"/>
                    <a:gd name="T44" fmla="*/ 2386 w 2513"/>
                    <a:gd name="T45" fmla="*/ 0 h 2815"/>
                    <a:gd name="T46" fmla="*/ 1086 w 2513"/>
                    <a:gd name="T47" fmla="*/ 98 h 2815"/>
                    <a:gd name="T48" fmla="*/ 228 w 2513"/>
                    <a:gd name="T49" fmla="*/ 153 h 2815"/>
                    <a:gd name="T50" fmla="*/ 309 w 2513"/>
                    <a:gd name="T51" fmla="*/ 300 h 2815"/>
                    <a:gd name="T52" fmla="*/ 439 w 2513"/>
                    <a:gd name="T53" fmla="*/ 447 h 2815"/>
                    <a:gd name="T54" fmla="*/ 322 w 2513"/>
                    <a:gd name="T55" fmla="*/ 350 h 28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513" h="2815">
                      <a:moveTo>
                        <a:pt x="322" y="350"/>
                      </a:moveTo>
                      <a:cubicBezTo>
                        <a:pt x="299" y="419"/>
                        <a:pt x="279" y="487"/>
                        <a:pt x="263" y="554"/>
                      </a:cubicBezTo>
                      <a:cubicBezTo>
                        <a:pt x="262" y="557"/>
                        <a:pt x="262" y="557"/>
                        <a:pt x="262" y="557"/>
                      </a:cubicBezTo>
                      <a:cubicBezTo>
                        <a:pt x="262" y="556"/>
                        <a:pt x="262" y="556"/>
                        <a:pt x="262" y="556"/>
                      </a:cubicBezTo>
                      <a:cubicBezTo>
                        <a:pt x="166" y="953"/>
                        <a:pt x="186" y="1306"/>
                        <a:pt x="205" y="1646"/>
                      </a:cubicBezTo>
                      <a:cubicBezTo>
                        <a:pt x="216" y="1835"/>
                        <a:pt x="230" y="2021"/>
                        <a:pt x="217" y="2208"/>
                      </a:cubicBezTo>
                      <a:cubicBezTo>
                        <a:pt x="208" y="2344"/>
                        <a:pt x="192" y="2527"/>
                        <a:pt x="130" y="2646"/>
                      </a:cubicBezTo>
                      <a:cubicBezTo>
                        <a:pt x="149" y="2579"/>
                        <a:pt x="163" y="2512"/>
                        <a:pt x="173" y="2447"/>
                      </a:cubicBezTo>
                      <a:cubicBezTo>
                        <a:pt x="148" y="2497"/>
                        <a:pt x="120" y="2537"/>
                        <a:pt x="94" y="2576"/>
                      </a:cubicBezTo>
                      <a:cubicBezTo>
                        <a:pt x="61" y="2624"/>
                        <a:pt x="28" y="2672"/>
                        <a:pt x="0" y="2737"/>
                      </a:cubicBezTo>
                      <a:cubicBezTo>
                        <a:pt x="323" y="2710"/>
                        <a:pt x="669" y="2731"/>
                        <a:pt x="1029" y="2754"/>
                      </a:cubicBezTo>
                      <a:cubicBezTo>
                        <a:pt x="1507" y="2783"/>
                        <a:pt x="2010" y="2815"/>
                        <a:pt x="2513" y="2735"/>
                      </a:cubicBezTo>
                      <a:cubicBezTo>
                        <a:pt x="2489" y="2684"/>
                        <a:pt x="2463" y="2643"/>
                        <a:pt x="2438" y="2603"/>
                      </a:cubicBezTo>
                      <a:cubicBezTo>
                        <a:pt x="2400" y="2542"/>
                        <a:pt x="2363" y="2484"/>
                        <a:pt x="2335" y="2398"/>
                      </a:cubicBezTo>
                      <a:cubicBezTo>
                        <a:pt x="2341" y="2494"/>
                        <a:pt x="2354" y="2580"/>
                        <a:pt x="2377" y="2654"/>
                      </a:cubicBezTo>
                      <a:cubicBezTo>
                        <a:pt x="2280" y="2522"/>
                        <a:pt x="2310" y="2044"/>
                        <a:pt x="2334" y="1732"/>
                      </a:cubicBezTo>
                      <a:cubicBezTo>
                        <a:pt x="2358" y="1345"/>
                        <a:pt x="2386" y="915"/>
                        <a:pt x="2318" y="521"/>
                      </a:cubicBezTo>
                      <a:cubicBezTo>
                        <a:pt x="2318" y="521"/>
                        <a:pt x="2318" y="521"/>
                        <a:pt x="2318" y="521"/>
                      </a:cubicBezTo>
                      <a:cubicBezTo>
                        <a:pt x="2317" y="518"/>
                        <a:pt x="2317" y="518"/>
                        <a:pt x="2317" y="518"/>
                      </a:cubicBezTo>
                      <a:cubicBezTo>
                        <a:pt x="2303" y="434"/>
                        <a:pt x="2284" y="351"/>
                        <a:pt x="2259" y="271"/>
                      </a:cubicBezTo>
                      <a:cubicBezTo>
                        <a:pt x="2234" y="332"/>
                        <a:pt x="2221" y="396"/>
                        <a:pt x="2239" y="464"/>
                      </a:cubicBezTo>
                      <a:cubicBezTo>
                        <a:pt x="2173" y="354"/>
                        <a:pt x="2270" y="202"/>
                        <a:pt x="2319" y="122"/>
                      </a:cubicBezTo>
                      <a:cubicBezTo>
                        <a:pt x="2342" y="84"/>
                        <a:pt x="2371" y="40"/>
                        <a:pt x="2386" y="0"/>
                      </a:cubicBezTo>
                      <a:cubicBezTo>
                        <a:pt x="1941" y="70"/>
                        <a:pt x="1492" y="85"/>
                        <a:pt x="1086" y="98"/>
                      </a:cubicBezTo>
                      <a:cubicBezTo>
                        <a:pt x="767" y="108"/>
                        <a:pt x="473" y="118"/>
                        <a:pt x="228" y="153"/>
                      </a:cubicBezTo>
                      <a:cubicBezTo>
                        <a:pt x="248" y="204"/>
                        <a:pt x="278" y="256"/>
                        <a:pt x="309" y="300"/>
                      </a:cubicBezTo>
                      <a:cubicBezTo>
                        <a:pt x="349" y="356"/>
                        <a:pt x="395" y="407"/>
                        <a:pt x="439" y="447"/>
                      </a:cubicBezTo>
                      <a:cubicBezTo>
                        <a:pt x="382" y="414"/>
                        <a:pt x="342" y="375"/>
                        <a:pt x="322" y="35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10"/>
                <p:cNvSpPr>
                  <a:spLocks noEditPoints="1"/>
                </p:cNvSpPr>
                <p:nvPr/>
              </p:nvSpPr>
              <p:spPr bwMode="auto">
                <a:xfrm>
                  <a:off x="-2364690" y="-2308227"/>
                  <a:ext cx="2363787" cy="458788"/>
                </a:xfrm>
                <a:custGeom>
                  <a:avLst/>
                  <a:gdLst>
                    <a:gd name="T0" fmla="*/ 2134 w 2157"/>
                    <a:gd name="T1" fmla="*/ 381 h 418"/>
                    <a:gd name="T2" fmla="*/ 2139 w 2157"/>
                    <a:gd name="T3" fmla="*/ 320 h 418"/>
                    <a:gd name="T4" fmla="*/ 2157 w 2157"/>
                    <a:gd name="T5" fmla="*/ 0 h 418"/>
                    <a:gd name="T6" fmla="*/ 1960 w 2157"/>
                    <a:gd name="T7" fmla="*/ 14 h 418"/>
                    <a:gd name="T8" fmla="*/ 1999 w 2157"/>
                    <a:gd name="T9" fmla="*/ 199 h 418"/>
                    <a:gd name="T10" fmla="*/ 1956 w 2157"/>
                    <a:gd name="T11" fmla="*/ 393 h 418"/>
                    <a:gd name="T12" fmla="*/ 2134 w 2157"/>
                    <a:gd name="T13" fmla="*/ 381 h 418"/>
                    <a:gd name="T14" fmla="*/ 0 w 2157"/>
                    <a:gd name="T15" fmla="*/ 34 h 418"/>
                    <a:gd name="T16" fmla="*/ 10 w 2157"/>
                    <a:gd name="T17" fmla="*/ 234 h 418"/>
                    <a:gd name="T18" fmla="*/ 21 w 2157"/>
                    <a:gd name="T19" fmla="*/ 413 h 418"/>
                    <a:gd name="T20" fmla="*/ 294 w 2157"/>
                    <a:gd name="T21" fmla="*/ 406 h 418"/>
                    <a:gd name="T22" fmla="*/ 278 w 2157"/>
                    <a:gd name="T23" fmla="*/ 28 h 418"/>
                    <a:gd name="T24" fmla="*/ 0 w 2157"/>
                    <a:gd name="T25" fmla="*/ 34 h 4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157" h="418">
                      <a:moveTo>
                        <a:pt x="2134" y="381"/>
                      </a:moveTo>
                      <a:cubicBezTo>
                        <a:pt x="2136" y="360"/>
                        <a:pt x="2137" y="339"/>
                        <a:pt x="2139" y="320"/>
                      </a:cubicBezTo>
                      <a:cubicBezTo>
                        <a:pt x="2145" y="216"/>
                        <a:pt x="2152" y="109"/>
                        <a:pt x="2157" y="0"/>
                      </a:cubicBezTo>
                      <a:cubicBezTo>
                        <a:pt x="2082" y="10"/>
                        <a:pt x="2037" y="15"/>
                        <a:pt x="1960" y="14"/>
                      </a:cubicBezTo>
                      <a:cubicBezTo>
                        <a:pt x="1986" y="72"/>
                        <a:pt x="1999" y="134"/>
                        <a:pt x="1999" y="199"/>
                      </a:cubicBezTo>
                      <a:cubicBezTo>
                        <a:pt x="1999" y="267"/>
                        <a:pt x="1984" y="332"/>
                        <a:pt x="1956" y="393"/>
                      </a:cubicBezTo>
                      <a:cubicBezTo>
                        <a:pt x="2027" y="392"/>
                        <a:pt x="2066" y="388"/>
                        <a:pt x="2134" y="381"/>
                      </a:cubicBezTo>
                      <a:close/>
                      <a:moveTo>
                        <a:pt x="0" y="34"/>
                      </a:moveTo>
                      <a:cubicBezTo>
                        <a:pt x="3" y="102"/>
                        <a:pt x="7" y="168"/>
                        <a:pt x="10" y="234"/>
                      </a:cubicBezTo>
                      <a:cubicBezTo>
                        <a:pt x="14" y="294"/>
                        <a:pt x="18" y="354"/>
                        <a:pt x="21" y="413"/>
                      </a:cubicBezTo>
                      <a:cubicBezTo>
                        <a:pt x="128" y="418"/>
                        <a:pt x="190" y="415"/>
                        <a:pt x="294" y="406"/>
                      </a:cubicBezTo>
                      <a:cubicBezTo>
                        <a:pt x="245" y="290"/>
                        <a:pt x="240" y="157"/>
                        <a:pt x="278" y="28"/>
                      </a:cubicBezTo>
                      <a:cubicBezTo>
                        <a:pt x="171" y="42"/>
                        <a:pt x="107" y="44"/>
                        <a:pt x="0" y="34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15"/>
                <p:cNvSpPr>
                  <a:spLocks noEditPoints="1"/>
                </p:cNvSpPr>
                <p:nvPr/>
              </p:nvSpPr>
              <p:spPr bwMode="auto">
                <a:xfrm>
                  <a:off x="-2055066" y="-2758284"/>
                  <a:ext cx="1839912" cy="1338263"/>
                </a:xfrm>
                <a:custGeom>
                  <a:avLst/>
                  <a:gdLst>
                    <a:gd name="T0" fmla="*/ 840 w 1680"/>
                    <a:gd name="T1" fmla="*/ 0 h 1221"/>
                    <a:gd name="T2" fmla="*/ 1433 w 1680"/>
                    <a:gd name="T3" fmla="*/ 178 h 1221"/>
                    <a:gd name="T4" fmla="*/ 1680 w 1680"/>
                    <a:gd name="T5" fmla="*/ 611 h 1221"/>
                    <a:gd name="T6" fmla="*/ 1433 w 1680"/>
                    <a:gd name="T7" fmla="*/ 1044 h 1221"/>
                    <a:gd name="T8" fmla="*/ 840 w 1680"/>
                    <a:gd name="T9" fmla="*/ 1221 h 1221"/>
                    <a:gd name="T10" fmla="*/ 247 w 1680"/>
                    <a:gd name="T11" fmla="*/ 1044 h 1221"/>
                    <a:gd name="T12" fmla="*/ 0 w 1680"/>
                    <a:gd name="T13" fmla="*/ 611 h 1221"/>
                    <a:gd name="T14" fmla="*/ 247 w 1680"/>
                    <a:gd name="T15" fmla="*/ 178 h 1221"/>
                    <a:gd name="T16" fmla="*/ 840 w 1680"/>
                    <a:gd name="T17" fmla="*/ 0 h 1221"/>
                    <a:gd name="T18" fmla="*/ 1421 w 1680"/>
                    <a:gd name="T19" fmla="*/ 194 h 1221"/>
                    <a:gd name="T20" fmla="*/ 840 w 1680"/>
                    <a:gd name="T21" fmla="*/ 20 h 1221"/>
                    <a:gd name="T22" fmla="*/ 259 w 1680"/>
                    <a:gd name="T23" fmla="*/ 194 h 1221"/>
                    <a:gd name="T24" fmla="*/ 20 w 1680"/>
                    <a:gd name="T25" fmla="*/ 611 h 1221"/>
                    <a:gd name="T26" fmla="*/ 259 w 1680"/>
                    <a:gd name="T27" fmla="*/ 1028 h 1221"/>
                    <a:gd name="T28" fmla="*/ 840 w 1680"/>
                    <a:gd name="T29" fmla="*/ 1202 h 1221"/>
                    <a:gd name="T30" fmla="*/ 1421 w 1680"/>
                    <a:gd name="T31" fmla="*/ 1028 h 1221"/>
                    <a:gd name="T32" fmla="*/ 1660 w 1680"/>
                    <a:gd name="T33" fmla="*/ 611 h 1221"/>
                    <a:gd name="T34" fmla="*/ 1421 w 1680"/>
                    <a:gd name="T35" fmla="*/ 194 h 1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680" h="1221">
                      <a:moveTo>
                        <a:pt x="840" y="0"/>
                      </a:moveTo>
                      <a:cubicBezTo>
                        <a:pt x="1071" y="0"/>
                        <a:pt x="1281" y="68"/>
                        <a:pt x="1433" y="178"/>
                      </a:cubicBezTo>
                      <a:cubicBezTo>
                        <a:pt x="1585" y="289"/>
                        <a:pt x="1680" y="442"/>
                        <a:pt x="1680" y="611"/>
                      </a:cubicBezTo>
                      <a:cubicBezTo>
                        <a:pt x="1680" y="780"/>
                        <a:pt x="1585" y="933"/>
                        <a:pt x="1433" y="1044"/>
                      </a:cubicBezTo>
                      <a:cubicBezTo>
                        <a:pt x="1281" y="1153"/>
                        <a:pt x="1071" y="1221"/>
                        <a:pt x="840" y="1221"/>
                      </a:cubicBezTo>
                      <a:cubicBezTo>
                        <a:pt x="608" y="1221"/>
                        <a:pt x="399" y="1153"/>
                        <a:pt x="247" y="1044"/>
                      </a:cubicBezTo>
                      <a:cubicBezTo>
                        <a:pt x="94" y="933"/>
                        <a:pt x="0" y="780"/>
                        <a:pt x="0" y="611"/>
                      </a:cubicBezTo>
                      <a:cubicBezTo>
                        <a:pt x="0" y="442"/>
                        <a:pt x="94" y="289"/>
                        <a:pt x="247" y="178"/>
                      </a:cubicBezTo>
                      <a:cubicBezTo>
                        <a:pt x="399" y="68"/>
                        <a:pt x="608" y="0"/>
                        <a:pt x="840" y="0"/>
                      </a:cubicBezTo>
                      <a:close/>
                      <a:moveTo>
                        <a:pt x="1421" y="194"/>
                      </a:moveTo>
                      <a:cubicBezTo>
                        <a:pt x="1272" y="86"/>
                        <a:pt x="1067" y="20"/>
                        <a:pt x="840" y="20"/>
                      </a:cubicBezTo>
                      <a:cubicBezTo>
                        <a:pt x="613" y="20"/>
                        <a:pt x="407" y="86"/>
                        <a:pt x="259" y="194"/>
                      </a:cubicBezTo>
                      <a:cubicBezTo>
                        <a:pt x="111" y="301"/>
                        <a:pt x="20" y="448"/>
                        <a:pt x="20" y="611"/>
                      </a:cubicBezTo>
                      <a:cubicBezTo>
                        <a:pt x="20" y="773"/>
                        <a:pt x="111" y="921"/>
                        <a:pt x="259" y="1028"/>
                      </a:cubicBezTo>
                      <a:cubicBezTo>
                        <a:pt x="407" y="1135"/>
                        <a:pt x="613" y="1202"/>
                        <a:pt x="840" y="1202"/>
                      </a:cubicBezTo>
                      <a:cubicBezTo>
                        <a:pt x="1067" y="1202"/>
                        <a:pt x="1272" y="1135"/>
                        <a:pt x="1421" y="1028"/>
                      </a:cubicBezTo>
                      <a:cubicBezTo>
                        <a:pt x="1569" y="921"/>
                        <a:pt x="1660" y="773"/>
                        <a:pt x="1660" y="611"/>
                      </a:cubicBezTo>
                      <a:cubicBezTo>
                        <a:pt x="1660" y="448"/>
                        <a:pt x="1569" y="301"/>
                        <a:pt x="1421" y="19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4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Oval 16"/>
                <p:cNvSpPr>
                  <a:spLocks noChangeArrowheads="1"/>
                </p:cNvSpPr>
                <p:nvPr/>
              </p:nvSpPr>
              <p:spPr bwMode="auto">
                <a:xfrm>
                  <a:off x="-1980515" y="-2693989"/>
                  <a:ext cx="1703387" cy="1209675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6"/>
                <p:cNvSpPr>
                  <a:spLocks noEditPoints="1"/>
                </p:cNvSpPr>
                <p:nvPr/>
              </p:nvSpPr>
              <p:spPr bwMode="auto">
                <a:xfrm>
                  <a:off x="-2617060" y="-693539"/>
                  <a:ext cx="2794000" cy="192088"/>
                </a:xfrm>
                <a:custGeom>
                  <a:avLst/>
                  <a:gdLst>
                    <a:gd name="T0" fmla="*/ 0 w 2550"/>
                    <a:gd name="T1" fmla="*/ 116 h 175"/>
                    <a:gd name="T2" fmla="*/ 994 w 2550"/>
                    <a:gd name="T3" fmla="*/ 116 h 175"/>
                    <a:gd name="T4" fmla="*/ 2550 w 2550"/>
                    <a:gd name="T5" fmla="*/ 104 h 175"/>
                    <a:gd name="T6" fmla="*/ 2548 w 2550"/>
                    <a:gd name="T7" fmla="*/ 82 h 175"/>
                    <a:gd name="T8" fmla="*/ 1052 w 2550"/>
                    <a:gd name="T9" fmla="*/ 103 h 175"/>
                    <a:gd name="T10" fmla="*/ 7 w 2550"/>
                    <a:gd name="T11" fmla="*/ 88 h 175"/>
                    <a:gd name="T12" fmla="*/ 0 w 2550"/>
                    <a:gd name="T13" fmla="*/ 116 h 175"/>
                    <a:gd name="T14" fmla="*/ 20 w 2550"/>
                    <a:gd name="T15" fmla="*/ 28 h 175"/>
                    <a:gd name="T16" fmla="*/ 16 w 2550"/>
                    <a:gd name="T17" fmla="*/ 48 h 175"/>
                    <a:gd name="T18" fmla="*/ 1053 w 2550"/>
                    <a:gd name="T19" fmla="*/ 64 h 175"/>
                    <a:gd name="T20" fmla="*/ 2543 w 2550"/>
                    <a:gd name="T21" fmla="*/ 44 h 175"/>
                    <a:gd name="T22" fmla="*/ 2541 w 2550"/>
                    <a:gd name="T23" fmla="*/ 25 h 175"/>
                    <a:gd name="T24" fmla="*/ 1054 w 2550"/>
                    <a:gd name="T25" fmla="*/ 44 h 175"/>
                    <a:gd name="T26" fmla="*/ 20 w 2550"/>
                    <a:gd name="T27" fmla="*/ 28 h 175"/>
                    <a:gd name="T28" fmla="*/ 14 w 2550"/>
                    <a:gd name="T29" fmla="*/ 58 h 175"/>
                    <a:gd name="T30" fmla="*/ 9 w 2550"/>
                    <a:gd name="T31" fmla="*/ 78 h 175"/>
                    <a:gd name="T32" fmla="*/ 1052 w 2550"/>
                    <a:gd name="T33" fmla="*/ 93 h 175"/>
                    <a:gd name="T34" fmla="*/ 2547 w 2550"/>
                    <a:gd name="T35" fmla="*/ 72 h 175"/>
                    <a:gd name="T36" fmla="*/ 2544 w 2550"/>
                    <a:gd name="T37" fmla="*/ 54 h 175"/>
                    <a:gd name="T38" fmla="*/ 1053 w 2550"/>
                    <a:gd name="T39" fmla="*/ 74 h 175"/>
                    <a:gd name="T40" fmla="*/ 14 w 2550"/>
                    <a:gd name="T41" fmla="*/ 58 h 1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550" h="175">
                      <a:moveTo>
                        <a:pt x="0" y="116"/>
                      </a:moveTo>
                      <a:cubicBezTo>
                        <a:pt x="400" y="72"/>
                        <a:pt x="679" y="93"/>
                        <a:pt x="994" y="116"/>
                      </a:cubicBezTo>
                      <a:cubicBezTo>
                        <a:pt x="1372" y="144"/>
                        <a:pt x="1801" y="175"/>
                        <a:pt x="2550" y="104"/>
                      </a:cubicBezTo>
                      <a:cubicBezTo>
                        <a:pt x="2548" y="82"/>
                        <a:pt x="2548" y="82"/>
                        <a:pt x="2548" y="82"/>
                      </a:cubicBezTo>
                      <a:cubicBezTo>
                        <a:pt x="2040" y="164"/>
                        <a:pt x="1534" y="133"/>
                        <a:pt x="1052" y="103"/>
                      </a:cubicBezTo>
                      <a:cubicBezTo>
                        <a:pt x="686" y="80"/>
                        <a:pt x="334" y="58"/>
                        <a:pt x="7" y="88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lose/>
                      <a:moveTo>
                        <a:pt x="20" y="28"/>
                      </a:moveTo>
                      <a:cubicBezTo>
                        <a:pt x="16" y="48"/>
                        <a:pt x="16" y="48"/>
                        <a:pt x="16" y="48"/>
                      </a:cubicBezTo>
                      <a:cubicBezTo>
                        <a:pt x="341" y="19"/>
                        <a:pt x="690" y="41"/>
                        <a:pt x="1053" y="64"/>
                      </a:cubicBezTo>
                      <a:cubicBezTo>
                        <a:pt x="1533" y="94"/>
                        <a:pt x="2038" y="125"/>
                        <a:pt x="2543" y="44"/>
                      </a:cubicBezTo>
                      <a:cubicBezTo>
                        <a:pt x="2541" y="25"/>
                        <a:pt x="2541" y="25"/>
                        <a:pt x="2541" y="25"/>
                      </a:cubicBezTo>
                      <a:cubicBezTo>
                        <a:pt x="2036" y="106"/>
                        <a:pt x="1533" y="74"/>
                        <a:pt x="1054" y="44"/>
                      </a:cubicBezTo>
                      <a:cubicBezTo>
                        <a:pt x="692" y="22"/>
                        <a:pt x="344" y="0"/>
                        <a:pt x="20" y="28"/>
                      </a:cubicBezTo>
                      <a:close/>
                      <a:moveTo>
                        <a:pt x="14" y="58"/>
                      </a:moveTo>
                      <a:cubicBezTo>
                        <a:pt x="9" y="78"/>
                        <a:pt x="9" y="78"/>
                        <a:pt x="9" y="78"/>
                      </a:cubicBezTo>
                      <a:cubicBezTo>
                        <a:pt x="336" y="48"/>
                        <a:pt x="687" y="70"/>
                        <a:pt x="1052" y="93"/>
                      </a:cubicBezTo>
                      <a:cubicBezTo>
                        <a:pt x="1534" y="123"/>
                        <a:pt x="2040" y="155"/>
                        <a:pt x="2547" y="72"/>
                      </a:cubicBezTo>
                      <a:cubicBezTo>
                        <a:pt x="2544" y="54"/>
                        <a:pt x="2544" y="54"/>
                        <a:pt x="2544" y="54"/>
                      </a:cubicBezTo>
                      <a:cubicBezTo>
                        <a:pt x="2038" y="135"/>
                        <a:pt x="1533" y="104"/>
                        <a:pt x="1053" y="74"/>
                      </a:cubicBezTo>
                      <a:cubicBezTo>
                        <a:pt x="689" y="51"/>
                        <a:pt x="339" y="29"/>
                        <a:pt x="14" y="58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7"/>
                <p:cNvSpPr>
                  <a:spLocks noEditPoints="1"/>
                </p:cNvSpPr>
                <p:nvPr/>
              </p:nvSpPr>
              <p:spPr bwMode="auto">
                <a:xfrm>
                  <a:off x="-2364690" y="-3626482"/>
                  <a:ext cx="2384425" cy="254000"/>
                </a:xfrm>
                <a:custGeom>
                  <a:avLst/>
                  <a:gdLst>
                    <a:gd name="T0" fmla="*/ 2177 w 2177"/>
                    <a:gd name="T1" fmla="*/ 78 h 232"/>
                    <a:gd name="T2" fmla="*/ 2177 w 2177"/>
                    <a:gd name="T3" fmla="*/ 58 h 232"/>
                    <a:gd name="T4" fmla="*/ 870 w 2177"/>
                    <a:gd name="T5" fmla="*/ 153 h 232"/>
                    <a:gd name="T6" fmla="*/ 10 w 2177"/>
                    <a:gd name="T7" fmla="*/ 204 h 232"/>
                    <a:gd name="T8" fmla="*/ 14 w 2177"/>
                    <a:gd name="T9" fmla="*/ 232 h 232"/>
                    <a:gd name="T10" fmla="*/ 874 w 2177"/>
                    <a:gd name="T11" fmla="*/ 177 h 232"/>
                    <a:gd name="T12" fmla="*/ 2177 w 2177"/>
                    <a:gd name="T13" fmla="*/ 78 h 232"/>
                    <a:gd name="T14" fmla="*/ 1512 w 2177"/>
                    <a:gd name="T15" fmla="*/ 89 h 232"/>
                    <a:gd name="T16" fmla="*/ 2177 w 2177"/>
                    <a:gd name="T17" fmla="*/ 21 h 232"/>
                    <a:gd name="T18" fmla="*/ 2177 w 2177"/>
                    <a:gd name="T19" fmla="*/ 0 h 232"/>
                    <a:gd name="T20" fmla="*/ 1512 w 2177"/>
                    <a:gd name="T21" fmla="*/ 89 h 232"/>
                    <a:gd name="T22" fmla="*/ 4 w 2177"/>
                    <a:gd name="T23" fmla="*/ 156 h 232"/>
                    <a:gd name="T24" fmla="*/ 214 w 2177"/>
                    <a:gd name="T25" fmla="*/ 133 h 232"/>
                    <a:gd name="T26" fmla="*/ 0 w 2177"/>
                    <a:gd name="T27" fmla="*/ 118 h 232"/>
                    <a:gd name="T28" fmla="*/ 4 w 2177"/>
                    <a:gd name="T29" fmla="*/ 156 h 232"/>
                    <a:gd name="T30" fmla="*/ 2177 w 2177"/>
                    <a:gd name="T31" fmla="*/ 31 h 232"/>
                    <a:gd name="T32" fmla="*/ 1312 w 2177"/>
                    <a:gd name="T33" fmla="*/ 108 h 232"/>
                    <a:gd name="T34" fmla="*/ 1004 w 2177"/>
                    <a:gd name="T35" fmla="*/ 129 h 232"/>
                    <a:gd name="T36" fmla="*/ 300 w 2177"/>
                    <a:gd name="T37" fmla="*/ 137 h 232"/>
                    <a:gd name="T38" fmla="*/ 5 w 2177"/>
                    <a:gd name="T39" fmla="*/ 166 h 232"/>
                    <a:gd name="T40" fmla="*/ 9 w 2177"/>
                    <a:gd name="T41" fmla="*/ 195 h 232"/>
                    <a:gd name="T42" fmla="*/ 870 w 2177"/>
                    <a:gd name="T43" fmla="*/ 143 h 232"/>
                    <a:gd name="T44" fmla="*/ 2177 w 2177"/>
                    <a:gd name="T45" fmla="*/ 48 h 232"/>
                    <a:gd name="T46" fmla="*/ 2177 w 2177"/>
                    <a:gd name="T47" fmla="*/ 31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177" h="232">
                      <a:moveTo>
                        <a:pt x="2177" y="78"/>
                      </a:moveTo>
                      <a:cubicBezTo>
                        <a:pt x="2177" y="58"/>
                        <a:pt x="2177" y="58"/>
                        <a:pt x="2177" y="58"/>
                      </a:cubicBezTo>
                      <a:cubicBezTo>
                        <a:pt x="1730" y="130"/>
                        <a:pt x="1279" y="142"/>
                        <a:pt x="870" y="153"/>
                      </a:cubicBezTo>
                      <a:cubicBezTo>
                        <a:pt x="550" y="161"/>
                        <a:pt x="256" y="169"/>
                        <a:pt x="10" y="204"/>
                      </a:cubicBezTo>
                      <a:cubicBezTo>
                        <a:pt x="14" y="232"/>
                        <a:pt x="14" y="232"/>
                        <a:pt x="14" y="232"/>
                      </a:cubicBezTo>
                      <a:cubicBezTo>
                        <a:pt x="260" y="197"/>
                        <a:pt x="554" y="188"/>
                        <a:pt x="874" y="177"/>
                      </a:cubicBezTo>
                      <a:cubicBezTo>
                        <a:pt x="1281" y="164"/>
                        <a:pt x="1731" y="149"/>
                        <a:pt x="2177" y="78"/>
                      </a:cubicBezTo>
                      <a:close/>
                      <a:moveTo>
                        <a:pt x="1512" y="89"/>
                      </a:moveTo>
                      <a:cubicBezTo>
                        <a:pt x="1731" y="76"/>
                        <a:pt x="1955" y="56"/>
                        <a:pt x="2177" y="21"/>
                      </a:cubicBezTo>
                      <a:cubicBezTo>
                        <a:pt x="2177" y="0"/>
                        <a:pt x="2177" y="0"/>
                        <a:pt x="2177" y="0"/>
                      </a:cubicBezTo>
                      <a:cubicBezTo>
                        <a:pt x="1965" y="34"/>
                        <a:pt x="1741" y="65"/>
                        <a:pt x="1512" y="89"/>
                      </a:cubicBezTo>
                      <a:close/>
                      <a:moveTo>
                        <a:pt x="4" y="156"/>
                      </a:moveTo>
                      <a:cubicBezTo>
                        <a:pt x="71" y="146"/>
                        <a:pt x="141" y="139"/>
                        <a:pt x="214" y="133"/>
                      </a:cubicBezTo>
                      <a:cubicBezTo>
                        <a:pt x="141" y="130"/>
                        <a:pt x="70" y="125"/>
                        <a:pt x="0" y="118"/>
                      </a:cubicBezTo>
                      <a:cubicBezTo>
                        <a:pt x="4" y="156"/>
                        <a:pt x="4" y="156"/>
                        <a:pt x="4" y="156"/>
                      </a:cubicBezTo>
                      <a:close/>
                      <a:moveTo>
                        <a:pt x="2177" y="31"/>
                      </a:moveTo>
                      <a:cubicBezTo>
                        <a:pt x="1887" y="77"/>
                        <a:pt x="1594" y="97"/>
                        <a:pt x="1312" y="108"/>
                      </a:cubicBezTo>
                      <a:cubicBezTo>
                        <a:pt x="1210" y="116"/>
                        <a:pt x="1107" y="124"/>
                        <a:pt x="1004" y="129"/>
                      </a:cubicBezTo>
                      <a:cubicBezTo>
                        <a:pt x="766" y="142"/>
                        <a:pt x="528" y="146"/>
                        <a:pt x="300" y="137"/>
                      </a:cubicBezTo>
                      <a:cubicBezTo>
                        <a:pt x="196" y="144"/>
                        <a:pt x="97" y="153"/>
                        <a:pt x="5" y="166"/>
                      </a:cubicBezTo>
                      <a:cubicBezTo>
                        <a:pt x="9" y="195"/>
                        <a:pt x="9" y="195"/>
                        <a:pt x="9" y="195"/>
                      </a:cubicBezTo>
                      <a:cubicBezTo>
                        <a:pt x="255" y="159"/>
                        <a:pt x="550" y="152"/>
                        <a:pt x="870" y="143"/>
                      </a:cubicBezTo>
                      <a:cubicBezTo>
                        <a:pt x="1279" y="132"/>
                        <a:pt x="1730" y="120"/>
                        <a:pt x="2177" y="48"/>
                      </a:cubicBezTo>
                      <a:cubicBezTo>
                        <a:pt x="2177" y="31"/>
                        <a:pt x="2177" y="31"/>
                        <a:pt x="2177" y="3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110" name="Group 109"/>
              <p:cNvGrpSpPr/>
              <p:nvPr/>
            </p:nvGrpSpPr>
            <p:grpSpPr>
              <a:xfrm>
                <a:off x="4786347" y="2257826"/>
                <a:ext cx="386101" cy="337810"/>
                <a:chOff x="-1968900" y="565947"/>
                <a:chExt cx="955860" cy="836307"/>
              </a:xfrm>
            </p:grpSpPr>
            <p:sp>
              <p:nvSpPr>
                <p:cNvPr id="103" name="Freeform 27"/>
                <p:cNvSpPr>
                  <a:spLocks/>
                </p:cNvSpPr>
                <p:nvPr/>
              </p:nvSpPr>
              <p:spPr bwMode="auto">
                <a:xfrm rot="15711397">
                  <a:off x="-1825046" y="590248"/>
                  <a:ext cx="795337" cy="828675"/>
                </a:xfrm>
                <a:custGeom>
                  <a:avLst/>
                  <a:gdLst>
                    <a:gd name="T0" fmla="*/ 156 w 726"/>
                    <a:gd name="T1" fmla="*/ 80 h 755"/>
                    <a:gd name="T2" fmla="*/ 407 w 726"/>
                    <a:gd name="T3" fmla="*/ 322 h 755"/>
                    <a:gd name="T4" fmla="*/ 591 w 726"/>
                    <a:gd name="T5" fmla="*/ 623 h 755"/>
                    <a:gd name="T6" fmla="*/ 585 w 726"/>
                    <a:gd name="T7" fmla="*/ 629 h 755"/>
                    <a:gd name="T8" fmla="*/ 95 w 726"/>
                    <a:gd name="T9" fmla="*/ 544 h 755"/>
                    <a:gd name="T10" fmla="*/ 110 w 726"/>
                    <a:gd name="T11" fmla="*/ 112 h 755"/>
                    <a:gd name="T12" fmla="*/ 156 w 726"/>
                    <a:gd name="T13" fmla="*/ 80 h 7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26" h="755">
                      <a:moveTo>
                        <a:pt x="156" y="80"/>
                      </a:moveTo>
                      <a:cubicBezTo>
                        <a:pt x="309" y="0"/>
                        <a:pt x="311" y="167"/>
                        <a:pt x="407" y="322"/>
                      </a:cubicBezTo>
                      <a:cubicBezTo>
                        <a:pt x="504" y="476"/>
                        <a:pt x="726" y="477"/>
                        <a:pt x="591" y="623"/>
                      </a:cubicBezTo>
                      <a:cubicBezTo>
                        <a:pt x="589" y="625"/>
                        <a:pt x="587" y="627"/>
                        <a:pt x="585" y="629"/>
                      </a:cubicBezTo>
                      <a:cubicBezTo>
                        <a:pt x="446" y="755"/>
                        <a:pt x="200" y="683"/>
                        <a:pt x="95" y="544"/>
                      </a:cubicBezTo>
                      <a:cubicBezTo>
                        <a:pt x="0" y="419"/>
                        <a:pt x="7" y="216"/>
                        <a:pt x="110" y="112"/>
                      </a:cubicBezTo>
                      <a:cubicBezTo>
                        <a:pt x="124" y="99"/>
                        <a:pt x="139" y="89"/>
                        <a:pt x="156" y="80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108" name="Group 107"/>
                <p:cNvGrpSpPr/>
                <p:nvPr/>
              </p:nvGrpSpPr>
              <p:grpSpPr>
                <a:xfrm>
                  <a:off x="-1968900" y="565947"/>
                  <a:ext cx="757238" cy="665163"/>
                  <a:chOff x="1004697" y="-2339976"/>
                  <a:chExt cx="757238" cy="665163"/>
                </a:xfrm>
                <a:solidFill>
                  <a:schemeClr val="accent4"/>
                </a:solidFill>
              </p:grpSpPr>
              <p:sp>
                <p:nvSpPr>
                  <p:cNvPr id="105" name="Freeform 29"/>
                  <p:cNvSpPr>
                    <a:spLocks/>
                  </p:cNvSpPr>
                  <p:nvPr/>
                </p:nvSpPr>
                <p:spPr bwMode="auto">
                  <a:xfrm>
                    <a:off x="1004697" y="-2339976"/>
                    <a:ext cx="757237" cy="665163"/>
                  </a:xfrm>
                  <a:custGeom>
                    <a:avLst/>
                    <a:gdLst>
                      <a:gd name="T0" fmla="*/ 672 w 690"/>
                      <a:gd name="T1" fmla="*/ 353 h 607"/>
                      <a:gd name="T2" fmla="*/ 390 w 690"/>
                      <a:gd name="T3" fmla="*/ 219 h 607"/>
                      <a:gd name="T4" fmla="*/ 80 w 690"/>
                      <a:gd name="T5" fmla="*/ 159 h 607"/>
                      <a:gd name="T6" fmla="*/ 297 w 690"/>
                      <a:gd name="T7" fmla="*/ 560 h 607"/>
                      <a:gd name="T8" fmla="*/ 672 w 690"/>
                      <a:gd name="T9" fmla="*/ 353 h 6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90" h="607">
                        <a:moveTo>
                          <a:pt x="672" y="353"/>
                        </a:moveTo>
                        <a:cubicBezTo>
                          <a:pt x="690" y="200"/>
                          <a:pt x="550" y="251"/>
                          <a:pt x="390" y="219"/>
                        </a:cubicBezTo>
                        <a:cubicBezTo>
                          <a:pt x="231" y="186"/>
                          <a:pt x="161" y="0"/>
                          <a:pt x="80" y="159"/>
                        </a:cubicBezTo>
                        <a:cubicBezTo>
                          <a:pt x="0" y="318"/>
                          <a:pt x="142" y="514"/>
                          <a:pt x="297" y="560"/>
                        </a:cubicBezTo>
                        <a:cubicBezTo>
                          <a:pt x="453" y="607"/>
                          <a:pt x="653" y="507"/>
                          <a:pt x="672" y="35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06" name="Freeform 30"/>
                  <p:cNvSpPr>
                    <a:spLocks/>
                  </p:cNvSpPr>
                  <p:nvPr/>
                </p:nvSpPr>
                <p:spPr bwMode="auto">
                  <a:xfrm>
                    <a:off x="1022160" y="-2339976"/>
                    <a:ext cx="739775" cy="644525"/>
                  </a:xfrm>
                  <a:custGeom>
                    <a:avLst/>
                    <a:gdLst>
                      <a:gd name="T0" fmla="*/ 657 w 675"/>
                      <a:gd name="T1" fmla="*/ 353 h 589"/>
                      <a:gd name="T2" fmla="*/ 375 w 675"/>
                      <a:gd name="T3" fmla="*/ 219 h 589"/>
                      <a:gd name="T4" fmla="*/ 65 w 675"/>
                      <a:gd name="T5" fmla="*/ 159 h 589"/>
                      <a:gd name="T6" fmla="*/ 62 w 675"/>
                      <a:gd name="T7" fmla="*/ 166 h 589"/>
                      <a:gd name="T8" fmla="*/ 287 w 675"/>
                      <a:gd name="T9" fmla="*/ 549 h 589"/>
                      <a:gd name="T10" fmla="*/ 644 w 675"/>
                      <a:gd name="T11" fmla="*/ 401 h 589"/>
                      <a:gd name="T12" fmla="*/ 657 w 675"/>
                      <a:gd name="T13" fmla="*/ 353 h 5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675" h="589">
                        <a:moveTo>
                          <a:pt x="657" y="353"/>
                        </a:moveTo>
                        <a:cubicBezTo>
                          <a:pt x="675" y="200"/>
                          <a:pt x="535" y="251"/>
                          <a:pt x="375" y="219"/>
                        </a:cubicBezTo>
                        <a:cubicBezTo>
                          <a:pt x="216" y="186"/>
                          <a:pt x="146" y="0"/>
                          <a:pt x="65" y="159"/>
                        </a:cubicBezTo>
                        <a:cubicBezTo>
                          <a:pt x="64" y="161"/>
                          <a:pt x="63" y="164"/>
                          <a:pt x="62" y="166"/>
                        </a:cubicBezTo>
                        <a:cubicBezTo>
                          <a:pt x="0" y="321"/>
                          <a:pt x="137" y="505"/>
                          <a:pt x="287" y="549"/>
                        </a:cubicBezTo>
                        <a:cubicBezTo>
                          <a:pt x="422" y="589"/>
                          <a:pt x="589" y="520"/>
                          <a:pt x="644" y="401"/>
                        </a:cubicBezTo>
                        <a:cubicBezTo>
                          <a:pt x="650" y="386"/>
                          <a:pt x="655" y="370"/>
                          <a:pt x="657" y="353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07" name="Freeform 31"/>
                  <p:cNvSpPr>
                    <a:spLocks noEditPoints="1"/>
                  </p:cNvSpPr>
                  <p:nvPr/>
                </p:nvSpPr>
                <p:spPr bwMode="auto">
                  <a:xfrm>
                    <a:off x="1080897" y="-2235201"/>
                    <a:ext cx="658812" cy="509588"/>
                  </a:xfrm>
                  <a:custGeom>
                    <a:avLst/>
                    <a:gdLst>
                      <a:gd name="T0" fmla="*/ 574 w 601"/>
                      <a:gd name="T1" fmla="*/ 162 h 465"/>
                      <a:gd name="T2" fmla="*/ 551 w 601"/>
                      <a:gd name="T3" fmla="*/ 364 h 465"/>
                      <a:gd name="T4" fmla="*/ 601 w 601"/>
                      <a:gd name="T5" fmla="*/ 202 h 465"/>
                      <a:gd name="T6" fmla="*/ 566 w 601"/>
                      <a:gd name="T7" fmla="*/ 346 h 465"/>
                      <a:gd name="T8" fmla="*/ 601 w 601"/>
                      <a:gd name="T9" fmla="*/ 202 h 465"/>
                      <a:gd name="T10" fmla="*/ 554 w 601"/>
                      <a:gd name="T11" fmla="*/ 152 h 465"/>
                      <a:gd name="T12" fmla="*/ 525 w 601"/>
                      <a:gd name="T13" fmla="*/ 389 h 465"/>
                      <a:gd name="T14" fmla="*/ 539 w 601"/>
                      <a:gd name="T15" fmla="*/ 147 h 465"/>
                      <a:gd name="T16" fmla="*/ 483 w 601"/>
                      <a:gd name="T17" fmla="*/ 418 h 465"/>
                      <a:gd name="T18" fmla="*/ 539 w 601"/>
                      <a:gd name="T19" fmla="*/ 147 h 465"/>
                      <a:gd name="T20" fmla="*/ 505 w 601"/>
                      <a:gd name="T21" fmla="*/ 141 h 465"/>
                      <a:gd name="T22" fmla="*/ 468 w 601"/>
                      <a:gd name="T23" fmla="*/ 427 h 465"/>
                      <a:gd name="T24" fmla="*/ 489 w 601"/>
                      <a:gd name="T25" fmla="*/ 139 h 465"/>
                      <a:gd name="T26" fmla="*/ 427 w 601"/>
                      <a:gd name="T27" fmla="*/ 444 h 465"/>
                      <a:gd name="T28" fmla="*/ 489 w 601"/>
                      <a:gd name="T29" fmla="*/ 139 h 465"/>
                      <a:gd name="T30" fmla="*/ 454 w 601"/>
                      <a:gd name="T31" fmla="*/ 137 h 465"/>
                      <a:gd name="T32" fmla="*/ 412 w 601"/>
                      <a:gd name="T33" fmla="*/ 449 h 465"/>
                      <a:gd name="T34" fmla="*/ 438 w 601"/>
                      <a:gd name="T35" fmla="*/ 136 h 465"/>
                      <a:gd name="T36" fmla="*/ 373 w 601"/>
                      <a:gd name="T37" fmla="*/ 459 h 465"/>
                      <a:gd name="T38" fmla="*/ 438 w 601"/>
                      <a:gd name="T39" fmla="*/ 136 h 465"/>
                      <a:gd name="T40" fmla="*/ 400 w 601"/>
                      <a:gd name="T41" fmla="*/ 133 h 465"/>
                      <a:gd name="T42" fmla="*/ 355 w 601"/>
                      <a:gd name="T43" fmla="*/ 462 h 465"/>
                      <a:gd name="T44" fmla="*/ 386 w 601"/>
                      <a:gd name="T45" fmla="*/ 132 h 465"/>
                      <a:gd name="T46" fmla="*/ 319 w 601"/>
                      <a:gd name="T47" fmla="*/ 465 h 465"/>
                      <a:gd name="T48" fmla="*/ 386 w 601"/>
                      <a:gd name="T49" fmla="*/ 132 h 465"/>
                      <a:gd name="T50" fmla="*/ 347 w 601"/>
                      <a:gd name="T51" fmla="*/ 127 h 465"/>
                      <a:gd name="T52" fmla="*/ 301 w 601"/>
                      <a:gd name="T53" fmla="*/ 464 h 465"/>
                      <a:gd name="T54" fmla="*/ 331 w 601"/>
                      <a:gd name="T55" fmla="*/ 124 h 465"/>
                      <a:gd name="T56" fmla="*/ 321 w 601"/>
                      <a:gd name="T57" fmla="*/ 122 h 465"/>
                      <a:gd name="T58" fmla="*/ 274 w 601"/>
                      <a:gd name="T59" fmla="*/ 462 h 465"/>
                      <a:gd name="T60" fmla="*/ 306 w 601"/>
                      <a:gd name="T61" fmla="*/ 119 h 465"/>
                      <a:gd name="T62" fmla="*/ 239 w 601"/>
                      <a:gd name="T63" fmla="*/ 455 h 465"/>
                      <a:gd name="T64" fmla="*/ 306 w 601"/>
                      <a:gd name="T65" fmla="*/ 119 h 465"/>
                      <a:gd name="T66" fmla="*/ 273 w 601"/>
                      <a:gd name="T67" fmla="*/ 108 h 465"/>
                      <a:gd name="T68" fmla="*/ 226 w 601"/>
                      <a:gd name="T69" fmla="*/ 451 h 465"/>
                      <a:gd name="T70" fmla="*/ 255 w 601"/>
                      <a:gd name="T71" fmla="*/ 99 h 465"/>
                      <a:gd name="T72" fmla="*/ 188 w 601"/>
                      <a:gd name="T73" fmla="*/ 435 h 465"/>
                      <a:gd name="T74" fmla="*/ 255 w 601"/>
                      <a:gd name="T75" fmla="*/ 99 h 465"/>
                      <a:gd name="T76" fmla="*/ 218 w 601"/>
                      <a:gd name="T77" fmla="*/ 78 h 465"/>
                      <a:gd name="T78" fmla="*/ 169 w 601"/>
                      <a:gd name="T79" fmla="*/ 426 h 465"/>
                      <a:gd name="T80" fmla="*/ 201 w 601"/>
                      <a:gd name="T81" fmla="*/ 67 h 465"/>
                      <a:gd name="T82" fmla="*/ 134 w 601"/>
                      <a:gd name="T83" fmla="*/ 402 h 465"/>
                      <a:gd name="T84" fmla="*/ 201 w 601"/>
                      <a:gd name="T85" fmla="*/ 67 h 465"/>
                      <a:gd name="T86" fmla="*/ 167 w 601"/>
                      <a:gd name="T87" fmla="*/ 43 h 465"/>
                      <a:gd name="T88" fmla="*/ 119 w 601"/>
                      <a:gd name="T89" fmla="*/ 391 h 465"/>
                      <a:gd name="T90" fmla="*/ 153 w 601"/>
                      <a:gd name="T91" fmla="*/ 32 h 465"/>
                      <a:gd name="T92" fmla="*/ 87 w 601"/>
                      <a:gd name="T93" fmla="*/ 361 h 465"/>
                      <a:gd name="T94" fmla="*/ 153 w 601"/>
                      <a:gd name="T95" fmla="*/ 32 h 465"/>
                      <a:gd name="T96" fmla="*/ 119 w 601"/>
                      <a:gd name="T97" fmla="*/ 11 h 465"/>
                      <a:gd name="T98" fmla="*/ 73 w 601"/>
                      <a:gd name="T99" fmla="*/ 346 h 465"/>
                      <a:gd name="T100" fmla="*/ 101 w 601"/>
                      <a:gd name="T101" fmla="*/ 3 h 465"/>
                      <a:gd name="T102" fmla="*/ 40 w 601"/>
                      <a:gd name="T103" fmla="*/ 301 h 465"/>
                      <a:gd name="T104" fmla="*/ 101 w 601"/>
                      <a:gd name="T105" fmla="*/ 3 h 465"/>
                      <a:gd name="T106" fmla="*/ 64 w 601"/>
                      <a:gd name="T107" fmla="*/ 3 h 465"/>
                      <a:gd name="T108" fmla="*/ 28 w 601"/>
                      <a:gd name="T109" fmla="*/ 281 h 465"/>
                      <a:gd name="T110" fmla="*/ 43 w 601"/>
                      <a:gd name="T111" fmla="*/ 17 h 465"/>
                      <a:gd name="T112" fmla="*/ 0 w 601"/>
                      <a:gd name="T113" fmla="*/ 210 h 465"/>
                      <a:gd name="T114" fmla="*/ 43 w 601"/>
                      <a:gd name="T115" fmla="*/ 17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</a:cxnLst>
                    <a:rect l="0" t="0" r="r" b="b"/>
                    <a:pathLst>
                      <a:path w="601" h="465">
                        <a:moveTo>
                          <a:pt x="583" y="170"/>
                        </a:moveTo>
                        <a:cubicBezTo>
                          <a:pt x="581" y="167"/>
                          <a:pt x="577" y="164"/>
                          <a:pt x="574" y="162"/>
                        </a:cubicBezTo>
                        <a:cubicBezTo>
                          <a:pt x="538" y="377"/>
                          <a:pt x="538" y="377"/>
                          <a:pt x="538" y="377"/>
                        </a:cubicBezTo>
                        <a:cubicBezTo>
                          <a:pt x="542" y="373"/>
                          <a:pt x="546" y="369"/>
                          <a:pt x="551" y="364"/>
                        </a:cubicBezTo>
                        <a:cubicBezTo>
                          <a:pt x="583" y="170"/>
                          <a:pt x="583" y="170"/>
                          <a:pt x="583" y="170"/>
                        </a:cubicBezTo>
                        <a:close/>
                        <a:moveTo>
                          <a:pt x="601" y="202"/>
                        </a:moveTo>
                        <a:cubicBezTo>
                          <a:pt x="599" y="195"/>
                          <a:pt x="597" y="189"/>
                          <a:pt x="593" y="183"/>
                        </a:cubicBezTo>
                        <a:cubicBezTo>
                          <a:pt x="566" y="346"/>
                          <a:pt x="566" y="346"/>
                          <a:pt x="566" y="346"/>
                        </a:cubicBezTo>
                        <a:cubicBezTo>
                          <a:pt x="571" y="339"/>
                          <a:pt x="576" y="332"/>
                          <a:pt x="580" y="325"/>
                        </a:cubicBezTo>
                        <a:cubicBezTo>
                          <a:pt x="601" y="202"/>
                          <a:pt x="601" y="202"/>
                          <a:pt x="601" y="202"/>
                        </a:cubicBezTo>
                        <a:close/>
                        <a:moveTo>
                          <a:pt x="564" y="156"/>
                        </a:moveTo>
                        <a:cubicBezTo>
                          <a:pt x="561" y="155"/>
                          <a:pt x="558" y="153"/>
                          <a:pt x="554" y="152"/>
                        </a:cubicBezTo>
                        <a:cubicBezTo>
                          <a:pt x="513" y="398"/>
                          <a:pt x="513" y="398"/>
                          <a:pt x="513" y="398"/>
                        </a:cubicBezTo>
                        <a:cubicBezTo>
                          <a:pt x="517" y="395"/>
                          <a:pt x="521" y="392"/>
                          <a:pt x="525" y="389"/>
                        </a:cubicBezTo>
                        <a:cubicBezTo>
                          <a:pt x="564" y="156"/>
                          <a:pt x="564" y="156"/>
                          <a:pt x="564" y="156"/>
                        </a:cubicBezTo>
                        <a:close/>
                        <a:moveTo>
                          <a:pt x="539" y="147"/>
                        </a:moveTo>
                        <a:cubicBezTo>
                          <a:pt x="536" y="146"/>
                          <a:pt x="532" y="145"/>
                          <a:pt x="529" y="145"/>
                        </a:cubicBezTo>
                        <a:cubicBezTo>
                          <a:pt x="483" y="418"/>
                          <a:pt x="483" y="418"/>
                          <a:pt x="483" y="418"/>
                        </a:cubicBezTo>
                        <a:cubicBezTo>
                          <a:pt x="487" y="416"/>
                          <a:pt x="491" y="414"/>
                          <a:pt x="495" y="411"/>
                        </a:cubicBezTo>
                        <a:cubicBezTo>
                          <a:pt x="539" y="147"/>
                          <a:pt x="539" y="147"/>
                          <a:pt x="539" y="147"/>
                        </a:cubicBezTo>
                        <a:close/>
                        <a:moveTo>
                          <a:pt x="516" y="142"/>
                        </a:moveTo>
                        <a:cubicBezTo>
                          <a:pt x="512" y="142"/>
                          <a:pt x="509" y="141"/>
                          <a:pt x="505" y="141"/>
                        </a:cubicBezTo>
                        <a:cubicBezTo>
                          <a:pt x="456" y="432"/>
                          <a:pt x="456" y="432"/>
                          <a:pt x="456" y="432"/>
                        </a:cubicBezTo>
                        <a:cubicBezTo>
                          <a:pt x="460" y="431"/>
                          <a:pt x="464" y="429"/>
                          <a:pt x="468" y="427"/>
                        </a:cubicBezTo>
                        <a:cubicBezTo>
                          <a:pt x="516" y="142"/>
                          <a:pt x="516" y="142"/>
                          <a:pt x="516" y="142"/>
                        </a:cubicBezTo>
                        <a:close/>
                        <a:moveTo>
                          <a:pt x="489" y="139"/>
                        </a:moveTo>
                        <a:cubicBezTo>
                          <a:pt x="486" y="139"/>
                          <a:pt x="483" y="139"/>
                          <a:pt x="479" y="139"/>
                        </a:cubicBezTo>
                        <a:cubicBezTo>
                          <a:pt x="427" y="444"/>
                          <a:pt x="427" y="444"/>
                          <a:pt x="427" y="444"/>
                        </a:cubicBezTo>
                        <a:cubicBezTo>
                          <a:pt x="431" y="443"/>
                          <a:pt x="435" y="442"/>
                          <a:pt x="439" y="440"/>
                        </a:cubicBezTo>
                        <a:cubicBezTo>
                          <a:pt x="489" y="139"/>
                          <a:pt x="489" y="139"/>
                          <a:pt x="489" y="139"/>
                        </a:cubicBezTo>
                        <a:close/>
                        <a:moveTo>
                          <a:pt x="465" y="138"/>
                        </a:moveTo>
                        <a:cubicBezTo>
                          <a:pt x="461" y="137"/>
                          <a:pt x="458" y="137"/>
                          <a:pt x="454" y="137"/>
                        </a:cubicBezTo>
                        <a:cubicBezTo>
                          <a:pt x="401" y="453"/>
                          <a:pt x="401" y="453"/>
                          <a:pt x="401" y="453"/>
                        </a:cubicBezTo>
                        <a:cubicBezTo>
                          <a:pt x="405" y="452"/>
                          <a:pt x="409" y="451"/>
                          <a:pt x="412" y="449"/>
                        </a:cubicBezTo>
                        <a:cubicBezTo>
                          <a:pt x="465" y="138"/>
                          <a:pt x="465" y="138"/>
                          <a:pt x="465" y="138"/>
                        </a:cubicBezTo>
                        <a:close/>
                        <a:moveTo>
                          <a:pt x="438" y="136"/>
                        </a:moveTo>
                        <a:cubicBezTo>
                          <a:pt x="435" y="136"/>
                          <a:pt x="431" y="135"/>
                          <a:pt x="428" y="135"/>
                        </a:cubicBezTo>
                        <a:cubicBezTo>
                          <a:pt x="373" y="459"/>
                          <a:pt x="373" y="459"/>
                          <a:pt x="373" y="459"/>
                        </a:cubicBezTo>
                        <a:cubicBezTo>
                          <a:pt x="377" y="459"/>
                          <a:pt x="380" y="458"/>
                          <a:pt x="384" y="457"/>
                        </a:cubicBezTo>
                        <a:cubicBezTo>
                          <a:pt x="438" y="136"/>
                          <a:pt x="438" y="136"/>
                          <a:pt x="438" y="136"/>
                        </a:cubicBezTo>
                        <a:close/>
                        <a:moveTo>
                          <a:pt x="411" y="134"/>
                        </a:moveTo>
                        <a:cubicBezTo>
                          <a:pt x="407" y="134"/>
                          <a:pt x="404" y="134"/>
                          <a:pt x="400" y="133"/>
                        </a:cubicBezTo>
                        <a:cubicBezTo>
                          <a:pt x="345" y="463"/>
                          <a:pt x="345" y="463"/>
                          <a:pt x="345" y="463"/>
                        </a:cubicBezTo>
                        <a:cubicBezTo>
                          <a:pt x="348" y="463"/>
                          <a:pt x="352" y="462"/>
                          <a:pt x="355" y="462"/>
                        </a:cubicBezTo>
                        <a:cubicBezTo>
                          <a:pt x="411" y="134"/>
                          <a:pt x="411" y="134"/>
                          <a:pt x="411" y="134"/>
                        </a:cubicBezTo>
                        <a:close/>
                        <a:moveTo>
                          <a:pt x="386" y="132"/>
                        </a:moveTo>
                        <a:cubicBezTo>
                          <a:pt x="382" y="132"/>
                          <a:pt x="379" y="131"/>
                          <a:pt x="375" y="131"/>
                        </a:cubicBezTo>
                        <a:cubicBezTo>
                          <a:pt x="319" y="465"/>
                          <a:pt x="319" y="465"/>
                          <a:pt x="319" y="465"/>
                        </a:cubicBezTo>
                        <a:cubicBezTo>
                          <a:pt x="323" y="465"/>
                          <a:pt x="326" y="465"/>
                          <a:pt x="330" y="464"/>
                        </a:cubicBezTo>
                        <a:cubicBezTo>
                          <a:pt x="386" y="132"/>
                          <a:pt x="386" y="132"/>
                          <a:pt x="386" y="132"/>
                        </a:cubicBezTo>
                        <a:close/>
                        <a:moveTo>
                          <a:pt x="357" y="129"/>
                        </a:moveTo>
                        <a:cubicBezTo>
                          <a:pt x="354" y="128"/>
                          <a:pt x="351" y="128"/>
                          <a:pt x="347" y="127"/>
                        </a:cubicBezTo>
                        <a:cubicBezTo>
                          <a:pt x="290" y="464"/>
                          <a:pt x="290" y="464"/>
                          <a:pt x="290" y="464"/>
                        </a:cubicBezTo>
                        <a:cubicBezTo>
                          <a:pt x="294" y="464"/>
                          <a:pt x="297" y="464"/>
                          <a:pt x="301" y="464"/>
                        </a:cubicBezTo>
                        <a:cubicBezTo>
                          <a:pt x="357" y="129"/>
                          <a:pt x="357" y="129"/>
                          <a:pt x="357" y="129"/>
                        </a:cubicBezTo>
                        <a:close/>
                        <a:moveTo>
                          <a:pt x="331" y="124"/>
                        </a:moveTo>
                        <a:cubicBezTo>
                          <a:pt x="328" y="124"/>
                          <a:pt x="324" y="123"/>
                          <a:pt x="321" y="123"/>
                        </a:cubicBezTo>
                        <a:cubicBezTo>
                          <a:pt x="321" y="122"/>
                          <a:pt x="321" y="122"/>
                          <a:pt x="321" y="122"/>
                        </a:cubicBezTo>
                        <a:cubicBezTo>
                          <a:pt x="264" y="461"/>
                          <a:pt x="264" y="461"/>
                          <a:pt x="264" y="461"/>
                        </a:cubicBezTo>
                        <a:cubicBezTo>
                          <a:pt x="267" y="461"/>
                          <a:pt x="270" y="462"/>
                          <a:pt x="274" y="462"/>
                        </a:cubicBezTo>
                        <a:cubicBezTo>
                          <a:pt x="331" y="124"/>
                          <a:pt x="331" y="124"/>
                          <a:pt x="331" y="124"/>
                        </a:cubicBezTo>
                        <a:close/>
                        <a:moveTo>
                          <a:pt x="306" y="119"/>
                        </a:moveTo>
                        <a:cubicBezTo>
                          <a:pt x="303" y="118"/>
                          <a:pt x="299" y="117"/>
                          <a:pt x="296" y="116"/>
                        </a:cubicBezTo>
                        <a:cubicBezTo>
                          <a:pt x="239" y="455"/>
                          <a:pt x="239" y="455"/>
                          <a:pt x="239" y="455"/>
                        </a:cubicBezTo>
                        <a:cubicBezTo>
                          <a:pt x="242" y="456"/>
                          <a:pt x="246" y="457"/>
                          <a:pt x="249" y="458"/>
                        </a:cubicBezTo>
                        <a:cubicBezTo>
                          <a:pt x="306" y="119"/>
                          <a:pt x="306" y="119"/>
                          <a:pt x="306" y="119"/>
                        </a:cubicBezTo>
                        <a:close/>
                        <a:moveTo>
                          <a:pt x="283" y="111"/>
                        </a:moveTo>
                        <a:cubicBezTo>
                          <a:pt x="280" y="110"/>
                          <a:pt x="276" y="109"/>
                          <a:pt x="273" y="108"/>
                        </a:cubicBezTo>
                        <a:cubicBezTo>
                          <a:pt x="216" y="448"/>
                          <a:pt x="216" y="448"/>
                          <a:pt x="216" y="448"/>
                        </a:cubicBezTo>
                        <a:cubicBezTo>
                          <a:pt x="219" y="449"/>
                          <a:pt x="222" y="450"/>
                          <a:pt x="226" y="451"/>
                        </a:cubicBezTo>
                        <a:cubicBezTo>
                          <a:pt x="283" y="111"/>
                          <a:pt x="283" y="111"/>
                          <a:pt x="283" y="111"/>
                        </a:cubicBezTo>
                        <a:close/>
                        <a:moveTo>
                          <a:pt x="255" y="99"/>
                        </a:moveTo>
                        <a:cubicBezTo>
                          <a:pt x="252" y="97"/>
                          <a:pt x="248" y="96"/>
                          <a:pt x="245" y="94"/>
                        </a:cubicBezTo>
                        <a:cubicBezTo>
                          <a:pt x="188" y="435"/>
                          <a:pt x="188" y="435"/>
                          <a:pt x="188" y="435"/>
                        </a:cubicBezTo>
                        <a:cubicBezTo>
                          <a:pt x="191" y="437"/>
                          <a:pt x="194" y="439"/>
                          <a:pt x="197" y="440"/>
                        </a:cubicBezTo>
                        <a:cubicBezTo>
                          <a:pt x="255" y="99"/>
                          <a:pt x="255" y="99"/>
                          <a:pt x="255" y="99"/>
                        </a:cubicBezTo>
                        <a:close/>
                        <a:moveTo>
                          <a:pt x="227" y="84"/>
                        </a:moveTo>
                        <a:cubicBezTo>
                          <a:pt x="224" y="82"/>
                          <a:pt x="221" y="80"/>
                          <a:pt x="218" y="78"/>
                        </a:cubicBezTo>
                        <a:cubicBezTo>
                          <a:pt x="160" y="420"/>
                          <a:pt x="160" y="420"/>
                          <a:pt x="160" y="420"/>
                        </a:cubicBezTo>
                        <a:cubicBezTo>
                          <a:pt x="163" y="422"/>
                          <a:pt x="166" y="424"/>
                          <a:pt x="169" y="426"/>
                        </a:cubicBezTo>
                        <a:cubicBezTo>
                          <a:pt x="227" y="84"/>
                          <a:pt x="227" y="84"/>
                          <a:pt x="227" y="84"/>
                        </a:cubicBezTo>
                        <a:close/>
                        <a:moveTo>
                          <a:pt x="201" y="67"/>
                        </a:moveTo>
                        <a:cubicBezTo>
                          <a:pt x="198" y="64"/>
                          <a:pt x="195" y="62"/>
                          <a:pt x="191" y="60"/>
                        </a:cubicBezTo>
                        <a:cubicBezTo>
                          <a:pt x="134" y="402"/>
                          <a:pt x="134" y="402"/>
                          <a:pt x="134" y="402"/>
                        </a:cubicBezTo>
                        <a:cubicBezTo>
                          <a:pt x="137" y="405"/>
                          <a:pt x="140" y="407"/>
                          <a:pt x="143" y="409"/>
                        </a:cubicBezTo>
                        <a:cubicBezTo>
                          <a:pt x="201" y="67"/>
                          <a:pt x="201" y="67"/>
                          <a:pt x="201" y="67"/>
                        </a:cubicBezTo>
                        <a:close/>
                        <a:moveTo>
                          <a:pt x="177" y="49"/>
                        </a:moveTo>
                        <a:cubicBezTo>
                          <a:pt x="167" y="43"/>
                          <a:pt x="167" y="43"/>
                          <a:pt x="167" y="43"/>
                        </a:cubicBezTo>
                        <a:cubicBezTo>
                          <a:pt x="110" y="383"/>
                          <a:pt x="110" y="383"/>
                          <a:pt x="110" y="383"/>
                        </a:cubicBezTo>
                        <a:cubicBezTo>
                          <a:pt x="113" y="386"/>
                          <a:pt x="116" y="388"/>
                          <a:pt x="119" y="391"/>
                        </a:cubicBezTo>
                        <a:cubicBezTo>
                          <a:pt x="177" y="49"/>
                          <a:pt x="177" y="49"/>
                          <a:pt x="177" y="49"/>
                        </a:cubicBezTo>
                        <a:close/>
                        <a:moveTo>
                          <a:pt x="153" y="32"/>
                        </a:moveTo>
                        <a:cubicBezTo>
                          <a:pt x="150" y="30"/>
                          <a:pt x="146" y="28"/>
                          <a:pt x="143" y="26"/>
                        </a:cubicBezTo>
                        <a:cubicBezTo>
                          <a:pt x="87" y="361"/>
                          <a:pt x="87" y="361"/>
                          <a:pt x="87" y="361"/>
                        </a:cubicBezTo>
                        <a:cubicBezTo>
                          <a:pt x="90" y="364"/>
                          <a:pt x="93" y="367"/>
                          <a:pt x="96" y="370"/>
                        </a:cubicBezTo>
                        <a:cubicBezTo>
                          <a:pt x="153" y="32"/>
                          <a:pt x="153" y="32"/>
                          <a:pt x="153" y="32"/>
                        </a:cubicBezTo>
                        <a:close/>
                        <a:moveTo>
                          <a:pt x="128" y="16"/>
                        </a:moveTo>
                        <a:cubicBezTo>
                          <a:pt x="125" y="14"/>
                          <a:pt x="122" y="12"/>
                          <a:pt x="119" y="11"/>
                        </a:cubicBezTo>
                        <a:cubicBezTo>
                          <a:pt x="64" y="335"/>
                          <a:pt x="64" y="335"/>
                          <a:pt x="64" y="335"/>
                        </a:cubicBezTo>
                        <a:cubicBezTo>
                          <a:pt x="67" y="339"/>
                          <a:pt x="70" y="342"/>
                          <a:pt x="73" y="346"/>
                        </a:cubicBezTo>
                        <a:cubicBezTo>
                          <a:pt x="128" y="16"/>
                          <a:pt x="128" y="16"/>
                          <a:pt x="128" y="16"/>
                        </a:cubicBezTo>
                        <a:close/>
                        <a:moveTo>
                          <a:pt x="101" y="3"/>
                        </a:moveTo>
                        <a:cubicBezTo>
                          <a:pt x="97" y="2"/>
                          <a:pt x="94" y="1"/>
                          <a:pt x="91" y="1"/>
                        </a:cubicBezTo>
                        <a:cubicBezTo>
                          <a:pt x="40" y="301"/>
                          <a:pt x="40" y="301"/>
                          <a:pt x="40" y="301"/>
                        </a:cubicBezTo>
                        <a:cubicBezTo>
                          <a:pt x="43" y="306"/>
                          <a:pt x="46" y="310"/>
                          <a:pt x="48" y="314"/>
                        </a:cubicBezTo>
                        <a:cubicBezTo>
                          <a:pt x="101" y="3"/>
                          <a:pt x="101" y="3"/>
                          <a:pt x="101" y="3"/>
                        </a:cubicBezTo>
                        <a:close/>
                        <a:moveTo>
                          <a:pt x="75" y="0"/>
                        </a:moveTo>
                        <a:cubicBezTo>
                          <a:pt x="72" y="1"/>
                          <a:pt x="68" y="2"/>
                          <a:pt x="64" y="3"/>
                        </a:cubicBezTo>
                        <a:cubicBezTo>
                          <a:pt x="20" y="265"/>
                          <a:pt x="20" y="265"/>
                          <a:pt x="20" y="265"/>
                        </a:cubicBezTo>
                        <a:cubicBezTo>
                          <a:pt x="23" y="270"/>
                          <a:pt x="25" y="276"/>
                          <a:pt x="28" y="281"/>
                        </a:cubicBezTo>
                        <a:cubicBezTo>
                          <a:pt x="75" y="0"/>
                          <a:pt x="75" y="0"/>
                          <a:pt x="75" y="0"/>
                        </a:cubicBezTo>
                        <a:close/>
                        <a:moveTo>
                          <a:pt x="43" y="17"/>
                        </a:moveTo>
                        <a:cubicBezTo>
                          <a:pt x="39" y="21"/>
                          <a:pt x="35" y="26"/>
                          <a:pt x="30" y="32"/>
                        </a:cubicBezTo>
                        <a:cubicBezTo>
                          <a:pt x="0" y="210"/>
                          <a:pt x="0" y="210"/>
                          <a:pt x="0" y="210"/>
                        </a:cubicBezTo>
                        <a:cubicBezTo>
                          <a:pt x="2" y="217"/>
                          <a:pt x="4" y="225"/>
                          <a:pt x="7" y="233"/>
                        </a:cubicBezTo>
                        <a:cubicBezTo>
                          <a:pt x="43" y="17"/>
                          <a:pt x="43" y="17"/>
                          <a:pt x="43" y="17"/>
                        </a:cubicBezTo>
                        <a:close/>
                      </a:path>
                    </a:pathLst>
                  </a:custGeom>
                  <a:solidFill>
                    <a:srgbClr val="FFFF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</p:grpSp>
      </p:grpSp>
      <p:grpSp>
        <p:nvGrpSpPr>
          <p:cNvPr id="39" name="Group 38"/>
          <p:cNvGrpSpPr/>
          <p:nvPr/>
        </p:nvGrpSpPr>
        <p:grpSpPr>
          <a:xfrm>
            <a:off x="3345434" y="2841561"/>
            <a:ext cx="1063069" cy="1063069"/>
            <a:chOff x="3345434" y="2841561"/>
            <a:chExt cx="1063069" cy="1063069"/>
          </a:xfrm>
        </p:grpSpPr>
        <p:sp>
          <p:nvSpPr>
            <p:cNvPr id="69" name="Oval 68"/>
            <p:cNvSpPr/>
            <p:nvPr/>
          </p:nvSpPr>
          <p:spPr>
            <a:xfrm>
              <a:off x="3345434" y="2841561"/>
              <a:ext cx="1063069" cy="106306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0" name="Group 4"/>
            <p:cNvGrpSpPr>
              <a:grpSpLocks noChangeAspect="1"/>
            </p:cNvGrpSpPr>
            <p:nvPr/>
          </p:nvGrpSpPr>
          <p:grpSpPr bwMode="auto">
            <a:xfrm rot="21226481">
              <a:off x="3437691" y="2977353"/>
              <a:ext cx="762367" cy="851781"/>
              <a:chOff x="1829" y="456"/>
              <a:chExt cx="2106" cy="2353"/>
            </a:xfrm>
          </p:grpSpPr>
          <p:sp>
            <p:nvSpPr>
              <p:cNvPr id="13" name="Freeform 5"/>
              <p:cNvSpPr>
                <a:spLocks/>
              </p:cNvSpPr>
              <p:nvPr/>
            </p:nvSpPr>
            <p:spPr bwMode="auto">
              <a:xfrm>
                <a:off x="1829" y="456"/>
                <a:ext cx="2106" cy="2353"/>
              </a:xfrm>
              <a:custGeom>
                <a:avLst/>
                <a:gdLst>
                  <a:gd name="T0" fmla="*/ 165 w 1287"/>
                  <a:gd name="T1" fmla="*/ 178 h 1438"/>
                  <a:gd name="T2" fmla="*/ 135 w 1287"/>
                  <a:gd name="T3" fmla="*/ 283 h 1438"/>
                  <a:gd name="T4" fmla="*/ 134 w 1287"/>
                  <a:gd name="T5" fmla="*/ 284 h 1438"/>
                  <a:gd name="T6" fmla="*/ 134 w 1287"/>
                  <a:gd name="T7" fmla="*/ 284 h 1438"/>
                  <a:gd name="T8" fmla="*/ 105 w 1287"/>
                  <a:gd name="T9" fmla="*/ 841 h 1438"/>
                  <a:gd name="T10" fmla="*/ 111 w 1287"/>
                  <a:gd name="T11" fmla="*/ 1128 h 1438"/>
                  <a:gd name="T12" fmla="*/ 67 w 1287"/>
                  <a:gd name="T13" fmla="*/ 1352 h 1438"/>
                  <a:gd name="T14" fmla="*/ 89 w 1287"/>
                  <a:gd name="T15" fmla="*/ 1250 h 1438"/>
                  <a:gd name="T16" fmla="*/ 48 w 1287"/>
                  <a:gd name="T17" fmla="*/ 1316 h 1438"/>
                  <a:gd name="T18" fmla="*/ 0 w 1287"/>
                  <a:gd name="T19" fmla="*/ 1398 h 1438"/>
                  <a:gd name="T20" fmla="*/ 527 w 1287"/>
                  <a:gd name="T21" fmla="*/ 1407 h 1438"/>
                  <a:gd name="T22" fmla="*/ 1287 w 1287"/>
                  <a:gd name="T23" fmla="*/ 1397 h 1438"/>
                  <a:gd name="T24" fmla="*/ 1249 w 1287"/>
                  <a:gd name="T25" fmla="*/ 1330 h 1438"/>
                  <a:gd name="T26" fmla="*/ 1196 w 1287"/>
                  <a:gd name="T27" fmla="*/ 1225 h 1438"/>
                  <a:gd name="T28" fmla="*/ 1218 w 1287"/>
                  <a:gd name="T29" fmla="*/ 1356 h 1438"/>
                  <a:gd name="T30" fmla="*/ 1196 w 1287"/>
                  <a:gd name="T31" fmla="*/ 885 h 1438"/>
                  <a:gd name="T32" fmla="*/ 1187 w 1287"/>
                  <a:gd name="T33" fmla="*/ 266 h 1438"/>
                  <a:gd name="T34" fmla="*/ 1187 w 1287"/>
                  <a:gd name="T35" fmla="*/ 266 h 1438"/>
                  <a:gd name="T36" fmla="*/ 1187 w 1287"/>
                  <a:gd name="T37" fmla="*/ 264 h 1438"/>
                  <a:gd name="T38" fmla="*/ 1157 w 1287"/>
                  <a:gd name="T39" fmla="*/ 138 h 1438"/>
                  <a:gd name="T40" fmla="*/ 1147 w 1287"/>
                  <a:gd name="T41" fmla="*/ 237 h 1438"/>
                  <a:gd name="T42" fmla="*/ 1188 w 1287"/>
                  <a:gd name="T43" fmla="*/ 62 h 1438"/>
                  <a:gd name="T44" fmla="*/ 1222 w 1287"/>
                  <a:gd name="T45" fmla="*/ 0 h 1438"/>
                  <a:gd name="T46" fmla="*/ 556 w 1287"/>
                  <a:gd name="T47" fmla="*/ 50 h 1438"/>
                  <a:gd name="T48" fmla="*/ 117 w 1287"/>
                  <a:gd name="T49" fmla="*/ 78 h 1438"/>
                  <a:gd name="T50" fmla="*/ 158 w 1287"/>
                  <a:gd name="T51" fmla="*/ 153 h 1438"/>
                  <a:gd name="T52" fmla="*/ 225 w 1287"/>
                  <a:gd name="T53" fmla="*/ 228 h 1438"/>
                  <a:gd name="T54" fmla="*/ 165 w 1287"/>
                  <a:gd name="T55" fmla="*/ 178 h 1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87" h="1438">
                    <a:moveTo>
                      <a:pt x="165" y="178"/>
                    </a:moveTo>
                    <a:cubicBezTo>
                      <a:pt x="153" y="214"/>
                      <a:pt x="143" y="248"/>
                      <a:pt x="135" y="283"/>
                    </a:cubicBezTo>
                    <a:cubicBezTo>
                      <a:pt x="134" y="284"/>
                      <a:pt x="134" y="284"/>
                      <a:pt x="134" y="284"/>
                    </a:cubicBezTo>
                    <a:cubicBezTo>
                      <a:pt x="134" y="284"/>
                      <a:pt x="134" y="284"/>
                      <a:pt x="134" y="284"/>
                    </a:cubicBezTo>
                    <a:cubicBezTo>
                      <a:pt x="85" y="487"/>
                      <a:pt x="95" y="667"/>
                      <a:pt x="105" y="841"/>
                    </a:cubicBezTo>
                    <a:cubicBezTo>
                      <a:pt x="111" y="937"/>
                      <a:pt x="118" y="1032"/>
                      <a:pt x="111" y="1128"/>
                    </a:cubicBezTo>
                    <a:cubicBezTo>
                      <a:pt x="107" y="1197"/>
                      <a:pt x="98" y="1291"/>
                      <a:pt x="67" y="1352"/>
                    </a:cubicBezTo>
                    <a:cubicBezTo>
                      <a:pt x="76" y="1317"/>
                      <a:pt x="84" y="1283"/>
                      <a:pt x="89" y="1250"/>
                    </a:cubicBezTo>
                    <a:cubicBezTo>
                      <a:pt x="76" y="1275"/>
                      <a:pt x="62" y="1296"/>
                      <a:pt x="48" y="1316"/>
                    </a:cubicBezTo>
                    <a:cubicBezTo>
                      <a:pt x="31" y="1340"/>
                      <a:pt x="14" y="1365"/>
                      <a:pt x="0" y="1398"/>
                    </a:cubicBezTo>
                    <a:cubicBezTo>
                      <a:pt x="165" y="1384"/>
                      <a:pt x="343" y="1395"/>
                      <a:pt x="527" y="1407"/>
                    </a:cubicBezTo>
                    <a:cubicBezTo>
                      <a:pt x="772" y="1422"/>
                      <a:pt x="1030" y="1438"/>
                      <a:pt x="1287" y="1397"/>
                    </a:cubicBezTo>
                    <a:cubicBezTo>
                      <a:pt x="1275" y="1371"/>
                      <a:pt x="1262" y="1350"/>
                      <a:pt x="1249" y="1330"/>
                    </a:cubicBezTo>
                    <a:cubicBezTo>
                      <a:pt x="1229" y="1298"/>
                      <a:pt x="1210" y="1269"/>
                      <a:pt x="1196" y="1225"/>
                    </a:cubicBezTo>
                    <a:cubicBezTo>
                      <a:pt x="1199" y="1274"/>
                      <a:pt x="1206" y="1318"/>
                      <a:pt x="1218" y="1356"/>
                    </a:cubicBezTo>
                    <a:cubicBezTo>
                      <a:pt x="1168" y="1288"/>
                      <a:pt x="1183" y="1044"/>
                      <a:pt x="1196" y="885"/>
                    </a:cubicBezTo>
                    <a:cubicBezTo>
                      <a:pt x="1208" y="687"/>
                      <a:pt x="1222" y="467"/>
                      <a:pt x="1187" y="266"/>
                    </a:cubicBezTo>
                    <a:cubicBezTo>
                      <a:pt x="1187" y="266"/>
                      <a:pt x="1187" y="266"/>
                      <a:pt x="1187" y="266"/>
                    </a:cubicBezTo>
                    <a:cubicBezTo>
                      <a:pt x="1187" y="264"/>
                      <a:pt x="1187" y="264"/>
                      <a:pt x="1187" y="264"/>
                    </a:cubicBezTo>
                    <a:cubicBezTo>
                      <a:pt x="1180" y="221"/>
                      <a:pt x="1170" y="179"/>
                      <a:pt x="1157" y="138"/>
                    </a:cubicBezTo>
                    <a:cubicBezTo>
                      <a:pt x="1144" y="169"/>
                      <a:pt x="1138" y="202"/>
                      <a:pt x="1147" y="237"/>
                    </a:cubicBezTo>
                    <a:cubicBezTo>
                      <a:pt x="1113" y="180"/>
                      <a:pt x="1163" y="103"/>
                      <a:pt x="1188" y="62"/>
                    </a:cubicBezTo>
                    <a:cubicBezTo>
                      <a:pt x="1200" y="43"/>
                      <a:pt x="1215" y="20"/>
                      <a:pt x="1222" y="0"/>
                    </a:cubicBezTo>
                    <a:cubicBezTo>
                      <a:pt x="994" y="35"/>
                      <a:pt x="764" y="43"/>
                      <a:pt x="556" y="50"/>
                    </a:cubicBezTo>
                    <a:cubicBezTo>
                      <a:pt x="393" y="55"/>
                      <a:pt x="242" y="60"/>
                      <a:pt x="117" y="78"/>
                    </a:cubicBezTo>
                    <a:cubicBezTo>
                      <a:pt x="127" y="104"/>
                      <a:pt x="142" y="130"/>
                      <a:pt x="158" y="153"/>
                    </a:cubicBezTo>
                    <a:cubicBezTo>
                      <a:pt x="179" y="181"/>
                      <a:pt x="202" y="208"/>
                      <a:pt x="225" y="228"/>
                    </a:cubicBezTo>
                    <a:cubicBezTo>
                      <a:pt x="196" y="211"/>
                      <a:pt x="175" y="191"/>
                      <a:pt x="165" y="17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6"/>
              <p:cNvSpPr>
                <a:spLocks/>
              </p:cNvSpPr>
              <p:nvPr/>
            </p:nvSpPr>
            <p:spPr bwMode="auto">
              <a:xfrm>
                <a:off x="2020" y="456"/>
                <a:ext cx="1808" cy="216"/>
              </a:xfrm>
              <a:custGeom>
                <a:avLst/>
                <a:gdLst>
                  <a:gd name="T0" fmla="*/ 1068 w 1105"/>
                  <a:gd name="T1" fmla="*/ 66 h 132"/>
                  <a:gd name="T2" fmla="*/ 1071 w 1105"/>
                  <a:gd name="T3" fmla="*/ 62 h 132"/>
                  <a:gd name="T4" fmla="*/ 1105 w 1105"/>
                  <a:gd name="T5" fmla="*/ 0 h 132"/>
                  <a:gd name="T6" fmla="*/ 439 w 1105"/>
                  <a:gd name="T7" fmla="*/ 50 h 132"/>
                  <a:gd name="T8" fmla="*/ 0 w 1105"/>
                  <a:gd name="T9" fmla="*/ 78 h 132"/>
                  <a:gd name="T10" fmla="*/ 28 w 1105"/>
                  <a:gd name="T11" fmla="*/ 132 h 132"/>
                  <a:gd name="T12" fmla="*/ 439 w 1105"/>
                  <a:gd name="T13" fmla="*/ 109 h 132"/>
                  <a:gd name="T14" fmla="*/ 1068 w 1105"/>
                  <a:gd name="T15" fmla="*/ 6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05" h="132">
                    <a:moveTo>
                      <a:pt x="1068" y="66"/>
                    </a:moveTo>
                    <a:cubicBezTo>
                      <a:pt x="1069" y="65"/>
                      <a:pt x="1070" y="63"/>
                      <a:pt x="1071" y="62"/>
                    </a:cubicBezTo>
                    <a:cubicBezTo>
                      <a:pt x="1083" y="43"/>
                      <a:pt x="1098" y="20"/>
                      <a:pt x="1105" y="0"/>
                    </a:cubicBezTo>
                    <a:cubicBezTo>
                      <a:pt x="877" y="35"/>
                      <a:pt x="647" y="43"/>
                      <a:pt x="439" y="50"/>
                    </a:cubicBezTo>
                    <a:cubicBezTo>
                      <a:pt x="276" y="55"/>
                      <a:pt x="125" y="60"/>
                      <a:pt x="0" y="78"/>
                    </a:cubicBezTo>
                    <a:cubicBezTo>
                      <a:pt x="7" y="96"/>
                      <a:pt x="17" y="115"/>
                      <a:pt x="28" y="132"/>
                    </a:cubicBezTo>
                    <a:cubicBezTo>
                      <a:pt x="147" y="118"/>
                      <a:pt x="288" y="113"/>
                      <a:pt x="439" y="109"/>
                    </a:cubicBezTo>
                    <a:cubicBezTo>
                      <a:pt x="636" y="103"/>
                      <a:pt x="853" y="96"/>
                      <a:pt x="1068" y="66"/>
                    </a:cubicBezTo>
                    <a:close/>
                  </a:path>
                </a:pathLst>
              </a:custGeom>
              <a:solidFill>
                <a:srgbClr val="1F83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7"/>
              <p:cNvSpPr>
                <a:spLocks/>
              </p:cNvSpPr>
              <p:nvPr/>
            </p:nvSpPr>
            <p:spPr bwMode="auto">
              <a:xfrm>
                <a:off x="2086" y="834"/>
                <a:ext cx="1312" cy="1312"/>
              </a:xfrm>
              <a:custGeom>
                <a:avLst/>
                <a:gdLst>
                  <a:gd name="T0" fmla="*/ 656 w 1312"/>
                  <a:gd name="T1" fmla="*/ 127 h 1312"/>
                  <a:gd name="T2" fmla="*/ 742 w 1312"/>
                  <a:gd name="T3" fmla="*/ 0 h 1312"/>
                  <a:gd name="T4" fmla="*/ 793 w 1312"/>
                  <a:gd name="T5" fmla="*/ 145 h 1312"/>
                  <a:gd name="T6" fmla="*/ 909 w 1312"/>
                  <a:gd name="T7" fmla="*/ 45 h 1312"/>
                  <a:gd name="T8" fmla="*/ 921 w 1312"/>
                  <a:gd name="T9" fmla="*/ 198 h 1312"/>
                  <a:gd name="T10" fmla="*/ 1058 w 1312"/>
                  <a:gd name="T11" fmla="*/ 131 h 1312"/>
                  <a:gd name="T12" fmla="*/ 1030 w 1312"/>
                  <a:gd name="T13" fmla="*/ 281 h 1312"/>
                  <a:gd name="T14" fmla="*/ 1181 w 1312"/>
                  <a:gd name="T15" fmla="*/ 253 h 1312"/>
                  <a:gd name="T16" fmla="*/ 1114 w 1312"/>
                  <a:gd name="T17" fmla="*/ 391 h 1312"/>
                  <a:gd name="T18" fmla="*/ 1268 w 1312"/>
                  <a:gd name="T19" fmla="*/ 402 h 1312"/>
                  <a:gd name="T20" fmla="*/ 1168 w 1312"/>
                  <a:gd name="T21" fmla="*/ 518 h 1312"/>
                  <a:gd name="T22" fmla="*/ 1312 w 1312"/>
                  <a:gd name="T23" fmla="*/ 569 h 1312"/>
                  <a:gd name="T24" fmla="*/ 1186 w 1312"/>
                  <a:gd name="T25" fmla="*/ 656 h 1312"/>
                  <a:gd name="T26" fmla="*/ 1312 w 1312"/>
                  <a:gd name="T27" fmla="*/ 743 h 1312"/>
                  <a:gd name="T28" fmla="*/ 1168 w 1312"/>
                  <a:gd name="T29" fmla="*/ 793 h 1312"/>
                  <a:gd name="T30" fmla="*/ 1268 w 1312"/>
                  <a:gd name="T31" fmla="*/ 910 h 1312"/>
                  <a:gd name="T32" fmla="*/ 1114 w 1312"/>
                  <a:gd name="T33" fmla="*/ 921 h 1312"/>
                  <a:gd name="T34" fmla="*/ 1181 w 1312"/>
                  <a:gd name="T35" fmla="*/ 1058 h 1312"/>
                  <a:gd name="T36" fmla="*/ 1030 w 1312"/>
                  <a:gd name="T37" fmla="*/ 1031 h 1312"/>
                  <a:gd name="T38" fmla="*/ 1058 w 1312"/>
                  <a:gd name="T39" fmla="*/ 1181 h 1312"/>
                  <a:gd name="T40" fmla="*/ 921 w 1312"/>
                  <a:gd name="T41" fmla="*/ 1114 h 1312"/>
                  <a:gd name="T42" fmla="*/ 909 w 1312"/>
                  <a:gd name="T43" fmla="*/ 1268 h 1312"/>
                  <a:gd name="T44" fmla="*/ 793 w 1312"/>
                  <a:gd name="T45" fmla="*/ 1166 h 1312"/>
                  <a:gd name="T46" fmla="*/ 742 w 1312"/>
                  <a:gd name="T47" fmla="*/ 1312 h 1312"/>
                  <a:gd name="T48" fmla="*/ 656 w 1312"/>
                  <a:gd name="T49" fmla="*/ 1184 h 1312"/>
                  <a:gd name="T50" fmla="*/ 569 w 1312"/>
                  <a:gd name="T51" fmla="*/ 1312 h 1312"/>
                  <a:gd name="T52" fmla="*/ 520 w 1312"/>
                  <a:gd name="T53" fmla="*/ 1166 h 1312"/>
                  <a:gd name="T54" fmla="*/ 404 w 1312"/>
                  <a:gd name="T55" fmla="*/ 1268 h 1312"/>
                  <a:gd name="T56" fmla="*/ 392 w 1312"/>
                  <a:gd name="T57" fmla="*/ 1114 h 1312"/>
                  <a:gd name="T58" fmla="*/ 253 w 1312"/>
                  <a:gd name="T59" fmla="*/ 1181 h 1312"/>
                  <a:gd name="T60" fmla="*/ 283 w 1312"/>
                  <a:gd name="T61" fmla="*/ 1031 h 1312"/>
                  <a:gd name="T62" fmla="*/ 132 w 1312"/>
                  <a:gd name="T63" fmla="*/ 1058 h 1312"/>
                  <a:gd name="T64" fmla="*/ 198 w 1312"/>
                  <a:gd name="T65" fmla="*/ 921 h 1312"/>
                  <a:gd name="T66" fmla="*/ 45 w 1312"/>
                  <a:gd name="T67" fmla="*/ 910 h 1312"/>
                  <a:gd name="T68" fmla="*/ 145 w 1312"/>
                  <a:gd name="T69" fmla="*/ 793 h 1312"/>
                  <a:gd name="T70" fmla="*/ 0 w 1312"/>
                  <a:gd name="T71" fmla="*/ 743 h 1312"/>
                  <a:gd name="T72" fmla="*/ 127 w 1312"/>
                  <a:gd name="T73" fmla="*/ 656 h 1312"/>
                  <a:gd name="T74" fmla="*/ 0 w 1312"/>
                  <a:gd name="T75" fmla="*/ 569 h 1312"/>
                  <a:gd name="T76" fmla="*/ 145 w 1312"/>
                  <a:gd name="T77" fmla="*/ 518 h 1312"/>
                  <a:gd name="T78" fmla="*/ 45 w 1312"/>
                  <a:gd name="T79" fmla="*/ 402 h 1312"/>
                  <a:gd name="T80" fmla="*/ 198 w 1312"/>
                  <a:gd name="T81" fmla="*/ 391 h 1312"/>
                  <a:gd name="T82" fmla="*/ 132 w 1312"/>
                  <a:gd name="T83" fmla="*/ 253 h 1312"/>
                  <a:gd name="T84" fmla="*/ 283 w 1312"/>
                  <a:gd name="T85" fmla="*/ 281 h 1312"/>
                  <a:gd name="T86" fmla="*/ 253 w 1312"/>
                  <a:gd name="T87" fmla="*/ 131 h 1312"/>
                  <a:gd name="T88" fmla="*/ 392 w 1312"/>
                  <a:gd name="T89" fmla="*/ 198 h 1312"/>
                  <a:gd name="T90" fmla="*/ 404 w 1312"/>
                  <a:gd name="T91" fmla="*/ 45 h 1312"/>
                  <a:gd name="T92" fmla="*/ 520 w 1312"/>
                  <a:gd name="T93" fmla="*/ 145 h 1312"/>
                  <a:gd name="T94" fmla="*/ 569 w 1312"/>
                  <a:gd name="T95" fmla="*/ 0 h 1312"/>
                  <a:gd name="T96" fmla="*/ 656 w 1312"/>
                  <a:gd name="T97" fmla="*/ 127 h 1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12" h="1312">
                    <a:moveTo>
                      <a:pt x="656" y="127"/>
                    </a:moveTo>
                    <a:lnTo>
                      <a:pt x="742" y="0"/>
                    </a:lnTo>
                    <a:lnTo>
                      <a:pt x="793" y="145"/>
                    </a:lnTo>
                    <a:lnTo>
                      <a:pt x="909" y="45"/>
                    </a:lnTo>
                    <a:lnTo>
                      <a:pt x="921" y="198"/>
                    </a:lnTo>
                    <a:lnTo>
                      <a:pt x="1058" y="131"/>
                    </a:lnTo>
                    <a:lnTo>
                      <a:pt x="1030" y="281"/>
                    </a:lnTo>
                    <a:lnTo>
                      <a:pt x="1181" y="253"/>
                    </a:lnTo>
                    <a:lnTo>
                      <a:pt x="1114" y="391"/>
                    </a:lnTo>
                    <a:lnTo>
                      <a:pt x="1268" y="402"/>
                    </a:lnTo>
                    <a:lnTo>
                      <a:pt x="1168" y="518"/>
                    </a:lnTo>
                    <a:lnTo>
                      <a:pt x="1312" y="569"/>
                    </a:lnTo>
                    <a:lnTo>
                      <a:pt x="1186" y="656"/>
                    </a:lnTo>
                    <a:lnTo>
                      <a:pt x="1312" y="743"/>
                    </a:lnTo>
                    <a:lnTo>
                      <a:pt x="1168" y="793"/>
                    </a:lnTo>
                    <a:lnTo>
                      <a:pt x="1268" y="910"/>
                    </a:lnTo>
                    <a:lnTo>
                      <a:pt x="1114" y="921"/>
                    </a:lnTo>
                    <a:lnTo>
                      <a:pt x="1181" y="1058"/>
                    </a:lnTo>
                    <a:lnTo>
                      <a:pt x="1030" y="1031"/>
                    </a:lnTo>
                    <a:lnTo>
                      <a:pt x="1058" y="1181"/>
                    </a:lnTo>
                    <a:lnTo>
                      <a:pt x="921" y="1114"/>
                    </a:lnTo>
                    <a:lnTo>
                      <a:pt x="909" y="1268"/>
                    </a:lnTo>
                    <a:lnTo>
                      <a:pt x="793" y="1166"/>
                    </a:lnTo>
                    <a:lnTo>
                      <a:pt x="742" y="1312"/>
                    </a:lnTo>
                    <a:lnTo>
                      <a:pt x="656" y="1184"/>
                    </a:lnTo>
                    <a:lnTo>
                      <a:pt x="569" y="1312"/>
                    </a:lnTo>
                    <a:lnTo>
                      <a:pt x="520" y="1166"/>
                    </a:lnTo>
                    <a:lnTo>
                      <a:pt x="404" y="1268"/>
                    </a:lnTo>
                    <a:lnTo>
                      <a:pt x="392" y="1114"/>
                    </a:lnTo>
                    <a:lnTo>
                      <a:pt x="253" y="1181"/>
                    </a:lnTo>
                    <a:lnTo>
                      <a:pt x="283" y="1031"/>
                    </a:lnTo>
                    <a:lnTo>
                      <a:pt x="132" y="1058"/>
                    </a:lnTo>
                    <a:lnTo>
                      <a:pt x="198" y="921"/>
                    </a:lnTo>
                    <a:lnTo>
                      <a:pt x="45" y="910"/>
                    </a:lnTo>
                    <a:lnTo>
                      <a:pt x="145" y="793"/>
                    </a:lnTo>
                    <a:lnTo>
                      <a:pt x="0" y="743"/>
                    </a:lnTo>
                    <a:lnTo>
                      <a:pt x="127" y="656"/>
                    </a:lnTo>
                    <a:lnTo>
                      <a:pt x="0" y="569"/>
                    </a:lnTo>
                    <a:lnTo>
                      <a:pt x="145" y="518"/>
                    </a:lnTo>
                    <a:lnTo>
                      <a:pt x="45" y="402"/>
                    </a:lnTo>
                    <a:lnTo>
                      <a:pt x="198" y="391"/>
                    </a:lnTo>
                    <a:lnTo>
                      <a:pt x="132" y="253"/>
                    </a:lnTo>
                    <a:lnTo>
                      <a:pt x="283" y="281"/>
                    </a:lnTo>
                    <a:lnTo>
                      <a:pt x="253" y="131"/>
                    </a:lnTo>
                    <a:lnTo>
                      <a:pt x="392" y="198"/>
                    </a:lnTo>
                    <a:lnTo>
                      <a:pt x="404" y="45"/>
                    </a:lnTo>
                    <a:lnTo>
                      <a:pt x="520" y="145"/>
                    </a:lnTo>
                    <a:lnTo>
                      <a:pt x="569" y="0"/>
                    </a:lnTo>
                    <a:lnTo>
                      <a:pt x="656" y="127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8"/>
              <p:cNvSpPr>
                <a:spLocks/>
              </p:cNvSpPr>
              <p:nvPr/>
            </p:nvSpPr>
            <p:spPr bwMode="auto">
              <a:xfrm>
                <a:off x="2333" y="1243"/>
                <a:ext cx="1335" cy="1363"/>
              </a:xfrm>
              <a:custGeom>
                <a:avLst/>
                <a:gdLst>
                  <a:gd name="T0" fmla="*/ 49 w 816"/>
                  <a:gd name="T1" fmla="*/ 119 h 833"/>
                  <a:gd name="T2" fmla="*/ 198 w 816"/>
                  <a:gd name="T3" fmla="*/ 85 h 833"/>
                  <a:gd name="T4" fmla="*/ 252 w 816"/>
                  <a:gd name="T5" fmla="*/ 284 h 833"/>
                  <a:gd name="T6" fmla="*/ 139 w 816"/>
                  <a:gd name="T7" fmla="*/ 520 h 833"/>
                  <a:gd name="T8" fmla="*/ 213 w 816"/>
                  <a:gd name="T9" fmla="*/ 683 h 833"/>
                  <a:gd name="T10" fmla="*/ 226 w 816"/>
                  <a:gd name="T11" fmla="*/ 510 h 833"/>
                  <a:gd name="T12" fmla="*/ 348 w 816"/>
                  <a:gd name="T13" fmla="*/ 301 h 833"/>
                  <a:gd name="T14" fmla="*/ 490 w 816"/>
                  <a:gd name="T15" fmla="*/ 270 h 833"/>
                  <a:gd name="T16" fmla="*/ 549 w 816"/>
                  <a:gd name="T17" fmla="*/ 142 h 833"/>
                  <a:gd name="T18" fmla="*/ 615 w 816"/>
                  <a:gd name="T19" fmla="*/ 63 h 833"/>
                  <a:gd name="T20" fmla="*/ 652 w 816"/>
                  <a:gd name="T21" fmla="*/ 33 h 833"/>
                  <a:gd name="T22" fmla="*/ 688 w 816"/>
                  <a:gd name="T23" fmla="*/ 9 h 833"/>
                  <a:gd name="T24" fmla="*/ 694 w 816"/>
                  <a:gd name="T25" fmla="*/ 19 h 833"/>
                  <a:gd name="T26" fmla="*/ 707 w 816"/>
                  <a:gd name="T27" fmla="*/ 7 h 833"/>
                  <a:gd name="T28" fmla="*/ 720 w 816"/>
                  <a:gd name="T29" fmla="*/ 4 h 833"/>
                  <a:gd name="T30" fmla="*/ 708 w 816"/>
                  <a:gd name="T31" fmla="*/ 51 h 833"/>
                  <a:gd name="T32" fmla="*/ 730 w 816"/>
                  <a:gd name="T33" fmla="*/ 60 h 833"/>
                  <a:gd name="T34" fmla="*/ 778 w 816"/>
                  <a:gd name="T35" fmla="*/ 101 h 833"/>
                  <a:gd name="T36" fmla="*/ 794 w 816"/>
                  <a:gd name="T37" fmla="*/ 143 h 833"/>
                  <a:gd name="T38" fmla="*/ 809 w 816"/>
                  <a:gd name="T39" fmla="*/ 161 h 833"/>
                  <a:gd name="T40" fmla="*/ 815 w 816"/>
                  <a:gd name="T41" fmla="*/ 177 h 833"/>
                  <a:gd name="T42" fmla="*/ 810 w 816"/>
                  <a:gd name="T43" fmla="*/ 190 h 833"/>
                  <a:gd name="T44" fmla="*/ 807 w 816"/>
                  <a:gd name="T45" fmla="*/ 202 h 833"/>
                  <a:gd name="T46" fmla="*/ 798 w 816"/>
                  <a:gd name="T47" fmla="*/ 211 h 833"/>
                  <a:gd name="T48" fmla="*/ 791 w 816"/>
                  <a:gd name="T49" fmla="*/ 227 h 833"/>
                  <a:gd name="T50" fmla="*/ 735 w 816"/>
                  <a:gd name="T51" fmla="*/ 249 h 833"/>
                  <a:gd name="T52" fmla="*/ 727 w 816"/>
                  <a:gd name="T53" fmla="*/ 299 h 833"/>
                  <a:gd name="T54" fmla="*/ 747 w 816"/>
                  <a:gd name="T55" fmla="*/ 370 h 833"/>
                  <a:gd name="T56" fmla="*/ 697 w 816"/>
                  <a:gd name="T57" fmla="*/ 489 h 833"/>
                  <a:gd name="T58" fmla="*/ 651 w 816"/>
                  <a:gd name="T59" fmla="*/ 584 h 833"/>
                  <a:gd name="T60" fmla="*/ 663 w 816"/>
                  <a:gd name="T61" fmla="*/ 643 h 833"/>
                  <a:gd name="T62" fmla="*/ 673 w 816"/>
                  <a:gd name="T63" fmla="*/ 706 h 833"/>
                  <a:gd name="T64" fmla="*/ 706 w 816"/>
                  <a:gd name="T65" fmla="*/ 719 h 833"/>
                  <a:gd name="T66" fmla="*/ 707 w 816"/>
                  <a:gd name="T67" fmla="*/ 751 h 833"/>
                  <a:gd name="T68" fmla="*/ 685 w 816"/>
                  <a:gd name="T69" fmla="*/ 762 h 833"/>
                  <a:gd name="T70" fmla="*/ 695 w 816"/>
                  <a:gd name="T71" fmla="*/ 775 h 833"/>
                  <a:gd name="T72" fmla="*/ 689 w 816"/>
                  <a:gd name="T73" fmla="*/ 801 h 833"/>
                  <a:gd name="T74" fmla="*/ 627 w 816"/>
                  <a:gd name="T75" fmla="*/ 807 h 833"/>
                  <a:gd name="T76" fmla="*/ 599 w 816"/>
                  <a:gd name="T77" fmla="*/ 792 h 833"/>
                  <a:gd name="T78" fmla="*/ 585 w 816"/>
                  <a:gd name="T79" fmla="*/ 755 h 833"/>
                  <a:gd name="T80" fmla="*/ 553 w 816"/>
                  <a:gd name="T81" fmla="*/ 761 h 833"/>
                  <a:gd name="T82" fmla="*/ 504 w 816"/>
                  <a:gd name="T83" fmla="*/ 763 h 833"/>
                  <a:gd name="T84" fmla="*/ 497 w 816"/>
                  <a:gd name="T85" fmla="*/ 769 h 833"/>
                  <a:gd name="T86" fmla="*/ 518 w 816"/>
                  <a:gd name="T87" fmla="*/ 795 h 833"/>
                  <a:gd name="T88" fmla="*/ 499 w 816"/>
                  <a:gd name="T89" fmla="*/ 827 h 833"/>
                  <a:gd name="T90" fmla="*/ 444 w 816"/>
                  <a:gd name="T91" fmla="*/ 821 h 833"/>
                  <a:gd name="T92" fmla="*/ 401 w 816"/>
                  <a:gd name="T93" fmla="*/ 824 h 833"/>
                  <a:gd name="T94" fmla="*/ 291 w 816"/>
                  <a:gd name="T95" fmla="*/ 813 h 833"/>
                  <a:gd name="T96" fmla="*/ 260 w 816"/>
                  <a:gd name="T97" fmla="*/ 801 h 833"/>
                  <a:gd name="T98" fmla="*/ 226 w 816"/>
                  <a:gd name="T99" fmla="*/ 779 h 833"/>
                  <a:gd name="T100" fmla="*/ 214 w 816"/>
                  <a:gd name="T101" fmla="*/ 760 h 833"/>
                  <a:gd name="T102" fmla="*/ 195 w 816"/>
                  <a:gd name="T103" fmla="*/ 751 h 833"/>
                  <a:gd name="T104" fmla="*/ 159 w 816"/>
                  <a:gd name="T105" fmla="*/ 344 h 833"/>
                  <a:gd name="T106" fmla="*/ 198 w 816"/>
                  <a:gd name="T107" fmla="*/ 165 h 833"/>
                  <a:gd name="T108" fmla="*/ 96 w 816"/>
                  <a:gd name="T109" fmla="*/ 146 h 833"/>
                  <a:gd name="T110" fmla="*/ 85 w 816"/>
                  <a:gd name="T111" fmla="*/ 221 h 833"/>
                  <a:gd name="T112" fmla="*/ 129 w 816"/>
                  <a:gd name="T113" fmla="*/ 275 h 833"/>
                  <a:gd name="T114" fmla="*/ 47 w 816"/>
                  <a:gd name="T115" fmla="*/ 246 h 833"/>
                  <a:gd name="T116" fmla="*/ 49 w 816"/>
                  <a:gd name="T117" fmla="*/ 119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16" h="833">
                    <a:moveTo>
                      <a:pt x="49" y="119"/>
                    </a:moveTo>
                    <a:cubicBezTo>
                      <a:pt x="75" y="80"/>
                      <a:pt x="135" y="55"/>
                      <a:pt x="198" y="85"/>
                    </a:cubicBezTo>
                    <a:cubicBezTo>
                      <a:pt x="274" y="120"/>
                      <a:pt x="271" y="215"/>
                      <a:pt x="252" y="284"/>
                    </a:cubicBezTo>
                    <a:cubicBezTo>
                      <a:pt x="232" y="352"/>
                      <a:pt x="152" y="453"/>
                      <a:pt x="139" y="520"/>
                    </a:cubicBezTo>
                    <a:cubicBezTo>
                      <a:pt x="129" y="566"/>
                      <a:pt x="159" y="636"/>
                      <a:pt x="213" y="683"/>
                    </a:cubicBezTo>
                    <a:cubicBezTo>
                      <a:pt x="213" y="658"/>
                      <a:pt x="209" y="605"/>
                      <a:pt x="226" y="510"/>
                    </a:cubicBezTo>
                    <a:cubicBezTo>
                      <a:pt x="249" y="389"/>
                      <a:pt x="294" y="334"/>
                      <a:pt x="348" y="301"/>
                    </a:cubicBezTo>
                    <a:cubicBezTo>
                      <a:pt x="401" y="269"/>
                      <a:pt x="452" y="279"/>
                      <a:pt x="490" y="270"/>
                    </a:cubicBezTo>
                    <a:cubicBezTo>
                      <a:pt x="528" y="260"/>
                      <a:pt x="527" y="193"/>
                      <a:pt x="549" y="142"/>
                    </a:cubicBezTo>
                    <a:cubicBezTo>
                      <a:pt x="570" y="94"/>
                      <a:pt x="595" y="78"/>
                      <a:pt x="615" y="63"/>
                    </a:cubicBezTo>
                    <a:cubicBezTo>
                      <a:pt x="635" y="47"/>
                      <a:pt x="643" y="41"/>
                      <a:pt x="652" y="33"/>
                    </a:cubicBezTo>
                    <a:cubicBezTo>
                      <a:pt x="661" y="26"/>
                      <a:pt x="685" y="9"/>
                      <a:pt x="688" y="9"/>
                    </a:cubicBezTo>
                    <a:cubicBezTo>
                      <a:pt x="692" y="10"/>
                      <a:pt x="692" y="18"/>
                      <a:pt x="694" y="19"/>
                    </a:cubicBezTo>
                    <a:cubicBezTo>
                      <a:pt x="697" y="20"/>
                      <a:pt x="704" y="10"/>
                      <a:pt x="707" y="7"/>
                    </a:cubicBezTo>
                    <a:cubicBezTo>
                      <a:pt x="711" y="4"/>
                      <a:pt x="718" y="0"/>
                      <a:pt x="720" y="4"/>
                    </a:cubicBezTo>
                    <a:cubicBezTo>
                      <a:pt x="722" y="9"/>
                      <a:pt x="705" y="46"/>
                      <a:pt x="708" y="51"/>
                    </a:cubicBezTo>
                    <a:cubicBezTo>
                      <a:pt x="710" y="55"/>
                      <a:pt x="713" y="55"/>
                      <a:pt x="730" y="60"/>
                    </a:cubicBezTo>
                    <a:cubicBezTo>
                      <a:pt x="747" y="65"/>
                      <a:pt x="771" y="92"/>
                      <a:pt x="778" y="101"/>
                    </a:cubicBezTo>
                    <a:cubicBezTo>
                      <a:pt x="784" y="109"/>
                      <a:pt x="790" y="137"/>
                      <a:pt x="794" y="143"/>
                    </a:cubicBezTo>
                    <a:cubicBezTo>
                      <a:pt x="798" y="149"/>
                      <a:pt x="806" y="158"/>
                      <a:pt x="809" y="161"/>
                    </a:cubicBezTo>
                    <a:cubicBezTo>
                      <a:pt x="812" y="165"/>
                      <a:pt x="815" y="171"/>
                      <a:pt x="815" y="177"/>
                    </a:cubicBezTo>
                    <a:cubicBezTo>
                      <a:pt x="816" y="183"/>
                      <a:pt x="812" y="188"/>
                      <a:pt x="810" y="190"/>
                    </a:cubicBezTo>
                    <a:cubicBezTo>
                      <a:pt x="807" y="192"/>
                      <a:pt x="809" y="197"/>
                      <a:pt x="807" y="202"/>
                    </a:cubicBezTo>
                    <a:cubicBezTo>
                      <a:pt x="804" y="207"/>
                      <a:pt x="800" y="210"/>
                      <a:pt x="798" y="211"/>
                    </a:cubicBezTo>
                    <a:cubicBezTo>
                      <a:pt x="795" y="213"/>
                      <a:pt x="799" y="217"/>
                      <a:pt x="791" y="227"/>
                    </a:cubicBezTo>
                    <a:cubicBezTo>
                      <a:pt x="782" y="237"/>
                      <a:pt x="745" y="238"/>
                      <a:pt x="735" y="249"/>
                    </a:cubicBezTo>
                    <a:cubicBezTo>
                      <a:pt x="725" y="259"/>
                      <a:pt x="727" y="285"/>
                      <a:pt x="727" y="299"/>
                    </a:cubicBezTo>
                    <a:cubicBezTo>
                      <a:pt x="728" y="313"/>
                      <a:pt x="745" y="343"/>
                      <a:pt x="747" y="370"/>
                    </a:cubicBezTo>
                    <a:cubicBezTo>
                      <a:pt x="749" y="396"/>
                      <a:pt x="715" y="470"/>
                      <a:pt x="697" y="489"/>
                    </a:cubicBezTo>
                    <a:cubicBezTo>
                      <a:pt x="678" y="509"/>
                      <a:pt x="651" y="570"/>
                      <a:pt x="651" y="584"/>
                    </a:cubicBezTo>
                    <a:cubicBezTo>
                      <a:pt x="651" y="597"/>
                      <a:pt x="659" y="627"/>
                      <a:pt x="663" y="643"/>
                    </a:cubicBezTo>
                    <a:cubicBezTo>
                      <a:pt x="667" y="659"/>
                      <a:pt x="670" y="703"/>
                      <a:pt x="673" y="706"/>
                    </a:cubicBezTo>
                    <a:cubicBezTo>
                      <a:pt x="677" y="710"/>
                      <a:pt x="699" y="713"/>
                      <a:pt x="706" y="719"/>
                    </a:cubicBezTo>
                    <a:cubicBezTo>
                      <a:pt x="713" y="725"/>
                      <a:pt x="715" y="737"/>
                      <a:pt x="707" y="751"/>
                    </a:cubicBezTo>
                    <a:cubicBezTo>
                      <a:pt x="699" y="764"/>
                      <a:pt x="685" y="762"/>
                      <a:pt x="685" y="762"/>
                    </a:cubicBezTo>
                    <a:cubicBezTo>
                      <a:pt x="685" y="762"/>
                      <a:pt x="692" y="767"/>
                      <a:pt x="695" y="775"/>
                    </a:cubicBezTo>
                    <a:cubicBezTo>
                      <a:pt x="699" y="783"/>
                      <a:pt x="697" y="797"/>
                      <a:pt x="689" y="801"/>
                    </a:cubicBezTo>
                    <a:cubicBezTo>
                      <a:pt x="680" y="805"/>
                      <a:pt x="640" y="808"/>
                      <a:pt x="627" y="807"/>
                    </a:cubicBezTo>
                    <a:cubicBezTo>
                      <a:pt x="614" y="806"/>
                      <a:pt x="608" y="802"/>
                      <a:pt x="599" y="792"/>
                    </a:cubicBezTo>
                    <a:cubicBezTo>
                      <a:pt x="589" y="782"/>
                      <a:pt x="587" y="758"/>
                      <a:pt x="585" y="755"/>
                    </a:cubicBezTo>
                    <a:cubicBezTo>
                      <a:pt x="583" y="753"/>
                      <a:pt x="567" y="760"/>
                      <a:pt x="553" y="761"/>
                    </a:cubicBezTo>
                    <a:cubicBezTo>
                      <a:pt x="539" y="761"/>
                      <a:pt x="504" y="763"/>
                      <a:pt x="504" y="763"/>
                    </a:cubicBezTo>
                    <a:cubicBezTo>
                      <a:pt x="497" y="769"/>
                      <a:pt x="497" y="769"/>
                      <a:pt x="497" y="769"/>
                    </a:cubicBezTo>
                    <a:cubicBezTo>
                      <a:pt x="497" y="769"/>
                      <a:pt x="514" y="780"/>
                      <a:pt x="518" y="795"/>
                    </a:cubicBezTo>
                    <a:cubicBezTo>
                      <a:pt x="521" y="811"/>
                      <a:pt x="514" y="821"/>
                      <a:pt x="499" y="827"/>
                    </a:cubicBezTo>
                    <a:cubicBezTo>
                      <a:pt x="484" y="833"/>
                      <a:pt x="453" y="825"/>
                      <a:pt x="444" y="821"/>
                    </a:cubicBezTo>
                    <a:cubicBezTo>
                      <a:pt x="434" y="817"/>
                      <a:pt x="425" y="824"/>
                      <a:pt x="401" y="824"/>
                    </a:cubicBezTo>
                    <a:cubicBezTo>
                      <a:pt x="378" y="824"/>
                      <a:pt x="325" y="814"/>
                      <a:pt x="291" y="813"/>
                    </a:cubicBezTo>
                    <a:cubicBezTo>
                      <a:pt x="257" y="811"/>
                      <a:pt x="267" y="807"/>
                      <a:pt x="260" y="801"/>
                    </a:cubicBezTo>
                    <a:cubicBezTo>
                      <a:pt x="253" y="794"/>
                      <a:pt x="247" y="797"/>
                      <a:pt x="226" y="779"/>
                    </a:cubicBezTo>
                    <a:cubicBezTo>
                      <a:pt x="221" y="775"/>
                      <a:pt x="217" y="768"/>
                      <a:pt x="214" y="760"/>
                    </a:cubicBezTo>
                    <a:cubicBezTo>
                      <a:pt x="208" y="757"/>
                      <a:pt x="201" y="754"/>
                      <a:pt x="195" y="751"/>
                    </a:cubicBezTo>
                    <a:cubicBezTo>
                      <a:pt x="108" y="705"/>
                      <a:pt x="0" y="564"/>
                      <a:pt x="159" y="344"/>
                    </a:cubicBezTo>
                    <a:cubicBezTo>
                      <a:pt x="203" y="283"/>
                      <a:pt x="216" y="203"/>
                      <a:pt x="198" y="165"/>
                    </a:cubicBezTo>
                    <a:cubicBezTo>
                      <a:pt x="180" y="127"/>
                      <a:pt x="130" y="117"/>
                      <a:pt x="96" y="146"/>
                    </a:cubicBezTo>
                    <a:cubicBezTo>
                      <a:pt x="61" y="174"/>
                      <a:pt x="74" y="211"/>
                      <a:pt x="85" y="221"/>
                    </a:cubicBezTo>
                    <a:cubicBezTo>
                      <a:pt x="97" y="231"/>
                      <a:pt x="149" y="237"/>
                      <a:pt x="129" y="275"/>
                    </a:cubicBezTo>
                    <a:cubicBezTo>
                      <a:pt x="119" y="294"/>
                      <a:pt x="72" y="282"/>
                      <a:pt x="47" y="246"/>
                    </a:cubicBezTo>
                    <a:cubicBezTo>
                      <a:pt x="21" y="209"/>
                      <a:pt x="24" y="159"/>
                      <a:pt x="49" y="119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2443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0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42" presetClass="path" presetSubtype="0" fill="hold" nodeType="with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 -3.33333E-6 L 0 0.12377 " pathEditMode="relative" rAng="0" ptsTypes="AA" p14:bounceEnd="20000">
                                          <p:cBhvr>
                                            <p:cTn id="11" dur="1250" spd="-100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617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1000"/>
                                            <p:tgtEl>
                                              <p:spTgt spid="6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16" presetID="55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8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0" dur="1000"/>
                                            <p:tgtEl>
                                              <p:spTgt spid="6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53" presetClass="entr" presetSubtype="16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75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53" presetClass="entr" presetSubtype="16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8" dur="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75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53" presetClass="entr" presetSubtype="16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5" dur="75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75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75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750"/>
                                            <p:tgtEl>
                                              <p:spTgt spid="7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1" fill="hold">
                          <p:stCondLst>
                            <p:cond delay="indefinite"/>
                          </p:stCondLst>
                          <p:childTnLst>
                            <p:par>
                              <p:cTn id="4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3" presetID="42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1000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6" dur="10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10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8" presetID="53" presetClass="entr" presetSubtype="16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0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1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2" dur="500"/>
                                            <p:tgtEl>
                                              <p:spTgt spid="1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53" presetClass="entr" presetSubtype="16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5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7" dur="500"/>
                                            <p:tgtEl>
                                              <p:spTgt spid="1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53" presetClass="entr" presetSubtype="16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0" dur="500" fill="hold"/>
                                            <p:tgtEl>
                                              <p:spTgt spid="12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1" dur="500" fill="hold"/>
                                            <p:tgtEl>
                                              <p:spTgt spid="12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2" dur="500"/>
                                            <p:tgtEl>
                                              <p:spTgt spid="1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5" dur="500" fill="hold"/>
                                            <p:tgtEl>
                                              <p:spTgt spid="10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6" dur="500" fill="hold"/>
                                            <p:tgtEl>
                                              <p:spTgt spid="10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7" dur="500"/>
                                            <p:tgtEl>
                                              <p:spTgt spid="10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53" presetClass="entr" presetSubtype="16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0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1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2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5" dur="10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6" presetID="53" presetClass="entr" presetSubtype="16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8" dur="75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75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0" dur="75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1" presetID="53" presetClass="entr" presetSubtype="16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3" dur="500" fill="hold"/>
                                            <p:tgtEl>
                                              <p:spTgt spid="12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4" dur="500" fill="hold"/>
                                            <p:tgtEl>
                                              <p:spTgt spid="12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5" dur="500"/>
                                            <p:tgtEl>
                                              <p:spTgt spid="1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6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8" dur="1000"/>
                                            <p:tgtEl>
                                              <p:spTgt spid="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2" grpId="0" animBg="1"/>
          <p:bldP spid="113" grpId="0" animBg="1"/>
          <p:bldP spid="101" grpId="0" animBg="1"/>
          <p:bldP spid="9" grpId="0" build="p"/>
          <p:bldP spid="65" grpId="0"/>
          <p:bldP spid="66" grpId="0"/>
          <p:bldP spid="22" grpId="0"/>
          <p:bldP spid="81" grpId="0"/>
          <p:bldP spid="12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0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42" presetClass="pat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0 -3.33333E-6 L 0 0.12377 " pathEditMode="relative" rAng="0" ptsTypes="AA">
                                          <p:cBhvr>
                                            <p:cTn id="11" dur="1250" spd="-100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617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1000"/>
                                            <p:tgtEl>
                                              <p:spTgt spid="6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16" presetID="55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8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1000" fill="hold"/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0" dur="1000"/>
                                            <p:tgtEl>
                                              <p:spTgt spid="6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1" presetID="53" presetClass="entr" presetSubtype="16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75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53" presetClass="entr" presetSubtype="16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8" dur="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75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53" presetClass="entr" presetSubtype="16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5" dur="75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75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750" fill="hold"/>
                                            <p:tgtEl>
                                              <p:spTgt spid="7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750"/>
                                            <p:tgtEl>
                                              <p:spTgt spid="7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1" fill="hold">
                          <p:stCondLst>
                            <p:cond delay="indefinite"/>
                          </p:stCondLst>
                          <p:childTnLst>
                            <p:par>
                              <p:cTn id="4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3" presetID="42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1000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6" dur="10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1000" fill="hold"/>
                                            <p:tgtEl>
                                              <p:spTgt spid="9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8" presetID="53" presetClass="entr" presetSubtype="16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0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1" dur="500" fill="hold"/>
                                            <p:tgtEl>
                                              <p:spTgt spid="1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2" dur="500"/>
                                            <p:tgtEl>
                                              <p:spTgt spid="1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53" presetClass="entr" presetSubtype="16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5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1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7" dur="500"/>
                                            <p:tgtEl>
                                              <p:spTgt spid="1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53" presetClass="entr" presetSubtype="16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0" dur="500" fill="hold"/>
                                            <p:tgtEl>
                                              <p:spTgt spid="12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1" dur="500" fill="hold"/>
                                            <p:tgtEl>
                                              <p:spTgt spid="12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2" dur="500"/>
                                            <p:tgtEl>
                                              <p:spTgt spid="1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5" dur="500" fill="hold"/>
                                            <p:tgtEl>
                                              <p:spTgt spid="10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6" dur="500" fill="hold"/>
                                            <p:tgtEl>
                                              <p:spTgt spid="10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7" dur="500"/>
                                            <p:tgtEl>
                                              <p:spTgt spid="10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53" presetClass="entr" presetSubtype="16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0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1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2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5" dur="10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6" presetID="53" presetClass="entr" presetSubtype="16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8" dur="75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75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0" dur="75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1" presetID="53" presetClass="entr" presetSubtype="16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3" dur="500" fill="hold"/>
                                            <p:tgtEl>
                                              <p:spTgt spid="12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4" dur="500" fill="hold"/>
                                            <p:tgtEl>
                                              <p:spTgt spid="12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5" dur="500"/>
                                            <p:tgtEl>
                                              <p:spTgt spid="1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6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8" dur="1000"/>
                                            <p:tgtEl>
                                              <p:spTgt spid="8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12" grpId="0" animBg="1"/>
          <p:bldP spid="113" grpId="0" animBg="1"/>
          <p:bldP spid="101" grpId="0" animBg="1"/>
          <p:bldP spid="9" grpId="0" build="p"/>
          <p:bldP spid="65" grpId="0"/>
          <p:bldP spid="66" grpId="0"/>
          <p:bldP spid="22" grpId="0"/>
          <p:bldP spid="81" grpId="0"/>
          <p:bldP spid="128" grpId="0" animBg="1"/>
        </p:bldLst>
      </p:timing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1" descr="shutterstock_100177376.tif"/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7708"/>
          <a:stretch/>
        </p:blipFill>
        <p:spPr>
          <a:xfrm>
            <a:off x="6032866" y="1760158"/>
            <a:ext cx="2816796" cy="3052029"/>
          </a:xfrm>
          <a:prstGeom prst="rect">
            <a:avLst/>
          </a:prstGeom>
        </p:spPr>
      </p:pic>
      <p:pic>
        <p:nvPicPr>
          <p:cNvPr id="46" name="Image 45"/>
          <p:cNvPicPr>
            <a:picLocks noChangeAspect="1"/>
          </p:cNvPicPr>
          <p:nvPr/>
        </p:nvPicPr>
        <p:blipFill>
          <a:blip r:embed="rId5" cstate="print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9743" y="1868370"/>
            <a:ext cx="3316982" cy="10742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07402"/>
            <a:ext cx="8443664" cy="892552"/>
          </a:xfrm>
        </p:spPr>
        <p:txBody>
          <a:bodyPr/>
          <a:lstStyle/>
          <a:p>
            <a:r>
              <a:rPr lang="hr-HR" dirty="0" smtClean="0"/>
              <a:t>			</a:t>
            </a:r>
            <a:r>
              <a:rPr lang="hr-HR" sz="3200" dirty="0" smtClean="0"/>
              <a:t>THANK YOU!</a:t>
            </a:r>
            <a:br>
              <a:rPr lang="hr-HR" sz="3200" dirty="0" smtClean="0"/>
            </a:br>
            <a:r>
              <a:rPr lang="hr-HR" dirty="0"/>
              <a:t>	</a:t>
            </a:r>
            <a:r>
              <a:rPr lang="hr-HR" dirty="0" smtClean="0"/>
              <a:t>	        igor.belosic@sunchemical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Group 82"/>
          <p:cNvGrpSpPr/>
          <p:nvPr/>
        </p:nvGrpSpPr>
        <p:grpSpPr>
          <a:xfrm>
            <a:off x="1408662" y="1853458"/>
            <a:ext cx="1807108" cy="1807108"/>
            <a:chOff x="1408662" y="1853458"/>
            <a:chExt cx="1807108" cy="1807108"/>
          </a:xfrm>
        </p:grpSpPr>
        <p:sp>
          <p:nvSpPr>
            <p:cNvPr id="6" name="Rechteck 35"/>
            <p:cNvSpPr/>
            <p:nvPr/>
          </p:nvSpPr>
          <p:spPr>
            <a:xfrm>
              <a:off x="1408662" y="1853458"/>
              <a:ext cx="1807108" cy="180710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1675125" y="2235433"/>
              <a:ext cx="1139105" cy="1043158"/>
              <a:chOff x="1742664" y="2235433"/>
              <a:chExt cx="1139105" cy="1043158"/>
            </a:xfrm>
          </p:grpSpPr>
          <p:grpSp>
            <p:nvGrpSpPr>
              <p:cNvPr id="57" name="Group 29"/>
              <p:cNvGrpSpPr>
                <a:grpSpLocks noChangeAspect="1"/>
              </p:cNvGrpSpPr>
              <p:nvPr/>
            </p:nvGrpSpPr>
            <p:grpSpPr bwMode="auto">
              <a:xfrm>
                <a:off x="1742664" y="2486924"/>
                <a:ext cx="1097683" cy="791667"/>
                <a:chOff x="1530" y="983"/>
                <a:chExt cx="2597" cy="1873"/>
              </a:xfrm>
            </p:grpSpPr>
            <p:sp>
              <p:nvSpPr>
                <p:cNvPr id="61" name="Freeform 32"/>
                <p:cNvSpPr>
                  <a:spLocks/>
                </p:cNvSpPr>
                <p:nvPr/>
              </p:nvSpPr>
              <p:spPr bwMode="auto">
                <a:xfrm>
                  <a:off x="1530" y="983"/>
                  <a:ext cx="1894" cy="1873"/>
                </a:xfrm>
                <a:custGeom>
                  <a:avLst/>
                  <a:gdLst>
                    <a:gd name="T0" fmla="*/ 650 w 1158"/>
                    <a:gd name="T1" fmla="*/ 1119 h 1145"/>
                    <a:gd name="T2" fmla="*/ 579 w 1158"/>
                    <a:gd name="T3" fmla="*/ 1045 h 1145"/>
                    <a:gd name="T4" fmla="*/ 450 w 1158"/>
                    <a:gd name="T5" fmla="*/ 1102 h 1145"/>
                    <a:gd name="T6" fmla="*/ 414 w 1158"/>
                    <a:gd name="T7" fmla="*/ 1126 h 1145"/>
                    <a:gd name="T8" fmla="*/ 265 w 1158"/>
                    <a:gd name="T9" fmla="*/ 1058 h 1145"/>
                    <a:gd name="T10" fmla="*/ 277 w 1158"/>
                    <a:gd name="T11" fmla="*/ 937 h 1145"/>
                    <a:gd name="T12" fmla="*/ 107 w 1158"/>
                    <a:gd name="T13" fmla="*/ 858 h 1145"/>
                    <a:gd name="T14" fmla="*/ 76 w 1158"/>
                    <a:gd name="T15" fmla="*/ 856 h 1145"/>
                    <a:gd name="T16" fmla="*/ 7 w 1158"/>
                    <a:gd name="T17" fmla="*/ 695 h 1145"/>
                    <a:gd name="T18" fmla="*/ 108 w 1158"/>
                    <a:gd name="T19" fmla="*/ 617 h 1145"/>
                    <a:gd name="T20" fmla="*/ 53 w 1158"/>
                    <a:gd name="T21" fmla="*/ 447 h 1145"/>
                    <a:gd name="T22" fmla="*/ 34 w 1158"/>
                    <a:gd name="T23" fmla="*/ 393 h 1145"/>
                    <a:gd name="T24" fmla="*/ 122 w 1158"/>
                    <a:gd name="T25" fmla="*/ 240 h 1145"/>
                    <a:gd name="T26" fmla="*/ 152 w 1158"/>
                    <a:gd name="T27" fmla="*/ 242 h 1145"/>
                    <a:gd name="T28" fmla="*/ 212 w 1158"/>
                    <a:gd name="T29" fmla="*/ 273 h 1145"/>
                    <a:gd name="T30" fmla="*/ 291 w 1158"/>
                    <a:gd name="T31" fmla="*/ 102 h 1145"/>
                    <a:gd name="T32" fmla="*/ 455 w 1158"/>
                    <a:gd name="T33" fmla="*/ 2 h 1145"/>
                    <a:gd name="T34" fmla="*/ 506 w 1158"/>
                    <a:gd name="T35" fmla="*/ 26 h 1145"/>
                    <a:gd name="T36" fmla="*/ 580 w 1158"/>
                    <a:gd name="T37" fmla="*/ 98 h 1145"/>
                    <a:gd name="T38" fmla="*/ 707 w 1158"/>
                    <a:gd name="T39" fmla="*/ 41 h 1145"/>
                    <a:gd name="T40" fmla="*/ 743 w 1158"/>
                    <a:gd name="T41" fmla="*/ 18 h 1145"/>
                    <a:gd name="T42" fmla="*/ 893 w 1158"/>
                    <a:gd name="T43" fmla="*/ 87 h 1145"/>
                    <a:gd name="T44" fmla="*/ 880 w 1158"/>
                    <a:gd name="T45" fmla="*/ 206 h 1145"/>
                    <a:gd name="T46" fmla="*/ 1050 w 1158"/>
                    <a:gd name="T47" fmla="*/ 285 h 1145"/>
                    <a:gd name="T48" fmla="*/ 1081 w 1158"/>
                    <a:gd name="T49" fmla="*/ 286 h 1145"/>
                    <a:gd name="T50" fmla="*/ 1150 w 1158"/>
                    <a:gd name="T51" fmla="*/ 447 h 1145"/>
                    <a:gd name="T52" fmla="*/ 1051 w 1158"/>
                    <a:gd name="T53" fmla="*/ 525 h 1145"/>
                    <a:gd name="T54" fmla="*/ 1114 w 1158"/>
                    <a:gd name="T55" fmla="*/ 702 h 1145"/>
                    <a:gd name="T56" fmla="*/ 1070 w 1158"/>
                    <a:gd name="T57" fmla="*/ 888 h 1145"/>
                    <a:gd name="T58" fmla="*/ 1034 w 1158"/>
                    <a:gd name="T59" fmla="*/ 910 h 1145"/>
                    <a:gd name="T60" fmla="*/ 945 w 1158"/>
                    <a:gd name="T61" fmla="*/ 872 h 1145"/>
                    <a:gd name="T62" fmla="*/ 865 w 1158"/>
                    <a:gd name="T63" fmla="*/ 1043 h 1145"/>
                    <a:gd name="T64" fmla="*/ 701 w 1158"/>
                    <a:gd name="T65" fmla="*/ 1143 h 1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58" h="1145">
                      <a:moveTo>
                        <a:pt x="687" y="1145"/>
                      </a:moveTo>
                      <a:cubicBezTo>
                        <a:pt x="671" y="1145"/>
                        <a:pt x="655" y="1135"/>
                        <a:pt x="650" y="1119"/>
                      </a:cubicBezTo>
                      <a:cubicBezTo>
                        <a:pt x="623" y="1043"/>
                        <a:pt x="623" y="1043"/>
                        <a:pt x="623" y="1043"/>
                      </a:cubicBezTo>
                      <a:cubicBezTo>
                        <a:pt x="609" y="1045"/>
                        <a:pt x="594" y="1045"/>
                        <a:pt x="579" y="1045"/>
                      </a:cubicBezTo>
                      <a:cubicBezTo>
                        <a:pt x="546" y="1045"/>
                        <a:pt x="514" y="1042"/>
                        <a:pt x="481" y="1035"/>
                      </a:cubicBezTo>
                      <a:cubicBezTo>
                        <a:pt x="450" y="1102"/>
                        <a:pt x="450" y="1102"/>
                        <a:pt x="450" y="1102"/>
                      </a:cubicBezTo>
                      <a:cubicBezTo>
                        <a:pt x="446" y="1112"/>
                        <a:pt x="438" y="1120"/>
                        <a:pt x="428" y="1123"/>
                      </a:cubicBezTo>
                      <a:cubicBezTo>
                        <a:pt x="423" y="1125"/>
                        <a:pt x="419" y="1126"/>
                        <a:pt x="414" y="1126"/>
                      </a:cubicBezTo>
                      <a:cubicBezTo>
                        <a:pt x="408" y="1126"/>
                        <a:pt x="402" y="1124"/>
                        <a:pt x="397" y="1122"/>
                      </a:cubicBezTo>
                      <a:cubicBezTo>
                        <a:pt x="265" y="1058"/>
                        <a:pt x="265" y="1058"/>
                        <a:pt x="265" y="1058"/>
                      </a:cubicBezTo>
                      <a:cubicBezTo>
                        <a:pt x="245" y="1048"/>
                        <a:pt x="237" y="1025"/>
                        <a:pt x="246" y="1005"/>
                      </a:cubicBezTo>
                      <a:cubicBezTo>
                        <a:pt x="277" y="937"/>
                        <a:pt x="277" y="937"/>
                        <a:pt x="277" y="937"/>
                      </a:cubicBezTo>
                      <a:cubicBezTo>
                        <a:pt x="241" y="906"/>
                        <a:pt x="209" y="871"/>
                        <a:pt x="183" y="831"/>
                      </a:cubicBezTo>
                      <a:cubicBezTo>
                        <a:pt x="107" y="858"/>
                        <a:pt x="107" y="858"/>
                        <a:pt x="107" y="858"/>
                      </a:cubicBezTo>
                      <a:cubicBezTo>
                        <a:pt x="103" y="860"/>
                        <a:pt x="98" y="860"/>
                        <a:pt x="94" y="860"/>
                      </a:cubicBezTo>
                      <a:cubicBezTo>
                        <a:pt x="88" y="860"/>
                        <a:pt x="82" y="859"/>
                        <a:pt x="76" y="856"/>
                      </a:cubicBezTo>
                      <a:cubicBezTo>
                        <a:pt x="67" y="852"/>
                        <a:pt x="59" y="844"/>
                        <a:pt x="56" y="834"/>
                      </a:cubicBezTo>
                      <a:cubicBezTo>
                        <a:pt x="7" y="695"/>
                        <a:pt x="7" y="695"/>
                        <a:pt x="7" y="695"/>
                      </a:cubicBezTo>
                      <a:cubicBezTo>
                        <a:pt x="0" y="675"/>
                        <a:pt x="11" y="652"/>
                        <a:pt x="31" y="644"/>
                      </a:cubicBezTo>
                      <a:cubicBezTo>
                        <a:pt x="108" y="617"/>
                        <a:pt x="108" y="617"/>
                        <a:pt x="108" y="617"/>
                      </a:cubicBezTo>
                      <a:cubicBezTo>
                        <a:pt x="104" y="570"/>
                        <a:pt x="106" y="523"/>
                        <a:pt x="116" y="477"/>
                      </a:cubicBezTo>
                      <a:cubicBezTo>
                        <a:pt x="53" y="447"/>
                        <a:pt x="53" y="447"/>
                        <a:pt x="53" y="447"/>
                      </a:cubicBezTo>
                      <a:cubicBezTo>
                        <a:pt x="43" y="442"/>
                        <a:pt x="36" y="434"/>
                        <a:pt x="33" y="424"/>
                      </a:cubicBezTo>
                      <a:cubicBezTo>
                        <a:pt x="29" y="414"/>
                        <a:pt x="30" y="403"/>
                        <a:pt x="34" y="393"/>
                      </a:cubicBezTo>
                      <a:cubicBezTo>
                        <a:pt x="98" y="261"/>
                        <a:pt x="98" y="261"/>
                        <a:pt x="98" y="261"/>
                      </a:cubicBezTo>
                      <a:cubicBezTo>
                        <a:pt x="103" y="251"/>
                        <a:pt x="111" y="243"/>
                        <a:pt x="122" y="240"/>
                      </a:cubicBezTo>
                      <a:cubicBezTo>
                        <a:pt x="126" y="239"/>
                        <a:pt x="130" y="238"/>
                        <a:pt x="134" y="238"/>
                      </a:cubicBezTo>
                      <a:cubicBezTo>
                        <a:pt x="141" y="238"/>
                        <a:pt x="147" y="239"/>
                        <a:pt x="152" y="242"/>
                      </a:cubicBezTo>
                      <a:cubicBezTo>
                        <a:pt x="212" y="273"/>
                        <a:pt x="212" y="273"/>
                        <a:pt x="212" y="273"/>
                      </a:cubicBezTo>
                      <a:cubicBezTo>
                        <a:pt x="212" y="273"/>
                        <a:pt x="212" y="273"/>
                        <a:pt x="212" y="273"/>
                      </a:cubicBezTo>
                      <a:cubicBezTo>
                        <a:pt x="242" y="236"/>
                        <a:pt x="278" y="204"/>
                        <a:pt x="317" y="178"/>
                      </a:cubicBezTo>
                      <a:cubicBezTo>
                        <a:pt x="291" y="102"/>
                        <a:pt x="291" y="102"/>
                        <a:pt x="291" y="102"/>
                      </a:cubicBezTo>
                      <a:cubicBezTo>
                        <a:pt x="283" y="82"/>
                        <a:pt x="294" y="59"/>
                        <a:pt x="315" y="51"/>
                      </a:cubicBezTo>
                      <a:cubicBezTo>
                        <a:pt x="455" y="2"/>
                        <a:pt x="455" y="2"/>
                        <a:pt x="455" y="2"/>
                      </a:cubicBezTo>
                      <a:cubicBezTo>
                        <a:pt x="459" y="0"/>
                        <a:pt x="464" y="0"/>
                        <a:pt x="468" y="0"/>
                      </a:cubicBezTo>
                      <a:cubicBezTo>
                        <a:pt x="485" y="0"/>
                        <a:pt x="500" y="10"/>
                        <a:pt x="506" y="26"/>
                      </a:cubicBezTo>
                      <a:cubicBezTo>
                        <a:pt x="532" y="101"/>
                        <a:pt x="532" y="101"/>
                        <a:pt x="532" y="101"/>
                      </a:cubicBezTo>
                      <a:cubicBezTo>
                        <a:pt x="548" y="99"/>
                        <a:pt x="564" y="98"/>
                        <a:pt x="580" y="98"/>
                      </a:cubicBezTo>
                      <a:cubicBezTo>
                        <a:pt x="612" y="98"/>
                        <a:pt x="644" y="102"/>
                        <a:pt x="675" y="108"/>
                      </a:cubicBezTo>
                      <a:cubicBezTo>
                        <a:pt x="707" y="41"/>
                        <a:pt x="707" y="41"/>
                        <a:pt x="707" y="41"/>
                      </a:cubicBezTo>
                      <a:cubicBezTo>
                        <a:pt x="712" y="32"/>
                        <a:pt x="720" y="24"/>
                        <a:pt x="730" y="21"/>
                      </a:cubicBezTo>
                      <a:cubicBezTo>
                        <a:pt x="734" y="19"/>
                        <a:pt x="739" y="18"/>
                        <a:pt x="743" y="18"/>
                      </a:cubicBezTo>
                      <a:cubicBezTo>
                        <a:pt x="749" y="18"/>
                        <a:pt x="755" y="20"/>
                        <a:pt x="761" y="22"/>
                      </a:cubicBezTo>
                      <a:cubicBezTo>
                        <a:pt x="893" y="87"/>
                        <a:pt x="893" y="87"/>
                        <a:pt x="893" y="87"/>
                      </a:cubicBezTo>
                      <a:cubicBezTo>
                        <a:pt x="913" y="96"/>
                        <a:pt x="921" y="120"/>
                        <a:pt x="912" y="140"/>
                      </a:cubicBezTo>
                      <a:cubicBezTo>
                        <a:pt x="880" y="206"/>
                        <a:pt x="880" y="206"/>
                        <a:pt x="880" y="206"/>
                      </a:cubicBezTo>
                      <a:cubicBezTo>
                        <a:pt x="917" y="236"/>
                        <a:pt x="949" y="272"/>
                        <a:pt x="975" y="311"/>
                      </a:cubicBezTo>
                      <a:cubicBezTo>
                        <a:pt x="1050" y="285"/>
                        <a:pt x="1050" y="285"/>
                        <a:pt x="1050" y="285"/>
                      </a:cubicBezTo>
                      <a:cubicBezTo>
                        <a:pt x="1055" y="283"/>
                        <a:pt x="1059" y="282"/>
                        <a:pt x="1064" y="282"/>
                      </a:cubicBezTo>
                      <a:cubicBezTo>
                        <a:pt x="1070" y="282"/>
                        <a:pt x="1076" y="284"/>
                        <a:pt x="1081" y="286"/>
                      </a:cubicBezTo>
                      <a:cubicBezTo>
                        <a:pt x="1091" y="291"/>
                        <a:pt x="1098" y="299"/>
                        <a:pt x="1102" y="309"/>
                      </a:cubicBezTo>
                      <a:cubicBezTo>
                        <a:pt x="1150" y="447"/>
                        <a:pt x="1150" y="447"/>
                        <a:pt x="1150" y="447"/>
                      </a:cubicBezTo>
                      <a:cubicBezTo>
                        <a:pt x="1158" y="468"/>
                        <a:pt x="1147" y="491"/>
                        <a:pt x="1126" y="498"/>
                      </a:cubicBezTo>
                      <a:cubicBezTo>
                        <a:pt x="1051" y="525"/>
                        <a:pt x="1051" y="525"/>
                        <a:pt x="1051" y="525"/>
                      </a:cubicBezTo>
                      <a:cubicBezTo>
                        <a:pt x="1055" y="572"/>
                        <a:pt x="1053" y="620"/>
                        <a:pt x="1043" y="667"/>
                      </a:cubicBezTo>
                      <a:cubicBezTo>
                        <a:pt x="1114" y="702"/>
                        <a:pt x="1114" y="702"/>
                        <a:pt x="1114" y="702"/>
                      </a:cubicBezTo>
                      <a:cubicBezTo>
                        <a:pt x="1134" y="711"/>
                        <a:pt x="1142" y="735"/>
                        <a:pt x="1133" y="755"/>
                      </a:cubicBezTo>
                      <a:cubicBezTo>
                        <a:pt x="1070" y="888"/>
                        <a:pt x="1070" y="888"/>
                        <a:pt x="1070" y="888"/>
                      </a:cubicBezTo>
                      <a:cubicBezTo>
                        <a:pt x="1066" y="897"/>
                        <a:pt x="1058" y="905"/>
                        <a:pt x="1048" y="908"/>
                      </a:cubicBezTo>
                      <a:cubicBezTo>
                        <a:pt x="1043" y="910"/>
                        <a:pt x="1039" y="910"/>
                        <a:pt x="1034" y="910"/>
                      </a:cubicBezTo>
                      <a:cubicBezTo>
                        <a:pt x="1028" y="910"/>
                        <a:pt x="1022" y="909"/>
                        <a:pt x="1017" y="907"/>
                      </a:cubicBezTo>
                      <a:cubicBezTo>
                        <a:pt x="945" y="872"/>
                        <a:pt x="945" y="872"/>
                        <a:pt x="945" y="872"/>
                      </a:cubicBezTo>
                      <a:cubicBezTo>
                        <a:pt x="915" y="910"/>
                        <a:pt x="879" y="942"/>
                        <a:pt x="838" y="968"/>
                      </a:cubicBezTo>
                      <a:cubicBezTo>
                        <a:pt x="865" y="1043"/>
                        <a:pt x="865" y="1043"/>
                        <a:pt x="865" y="1043"/>
                      </a:cubicBezTo>
                      <a:cubicBezTo>
                        <a:pt x="872" y="1063"/>
                        <a:pt x="861" y="1086"/>
                        <a:pt x="840" y="1094"/>
                      </a:cubicBezTo>
                      <a:cubicBezTo>
                        <a:pt x="701" y="1143"/>
                        <a:pt x="701" y="1143"/>
                        <a:pt x="701" y="1143"/>
                      </a:cubicBezTo>
                      <a:cubicBezTo>
                        <a:pt x="696" y="1144"/>
                        <a:pt x="692" y="1145"/>
                        <a:pt x="687" y="1145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" name="Freeform 33"/>
                <p:cNvSpPr>
                  <a:spLocks noEditPoints="1"/>
                </p:cNvSpPr>
                <p:nvPr/>
              </p:nvSpPr>
              <p:spPr bwMode="auto">
                <a:xfrm>
                  <a:off x="3478" y="1533"/>
                  <a:ext cx="649" cy="642"/>
                </a:xfrm>
                <a:custGeom>
                  <a:avLst/>
                  <a:gdLst>
                    <a:gd name="T0" fmla="*/ 199 w 397"/>
                    <a:gd name="T1" fmla="*/ 390 h 393"/>
                    <a:gd name="T2" fmla="*/ 187 w 397"/>
                    <a:gd name="T3" fmla="*/ 357 h 393"/>
                    <a:gd name="T4" fmla="*/ 128 w 397"/>
                    <a:gd name="T5" fmla="*/ 365 h 393"/>
                    <a:gd name="T6" fmla="*/ 112 w 397"/>
                    <a:gd name="T7" fmla="*/ 374 h 393"/>
                    <a:gd name="T8" fmla="*/ 68 w 397"/>
                    <a:gd name="T9" fmla="*/ 349 h 393"/>
                    <a:gd name="T10" fmla="*/ 76 w 397"/>
                    <a:gd name="T11" fmla="*/ 302 h 393"/>
                    <a:gd name="T12" fmla="*/ 32 w 397"/>
                    <a:gd name="T13" fmla="*/ 265 h 393"/>
                    <a:gd name="T14" fmla="*/ 17 w 397"/>
                    <a:gd name="T15" fmla="*/ 262 h 393"/>
                    <a:gd name="T16" fmla="*/ 2 w 397"/>
                    <a:gd name="T17" fmla="*/ 213 h 393"/>
                    <a:gd name="T18" fmla="*/ 36 w 397"/>
                    <a:gd name="T19" fmla="*/ 187 h 393"/>
                    <a:gd name="T20" fmla="*/ 27 w 397"/>
                    <a:gd name="T21" fmla="*/ 128 h 393"/>
                    <a:gd name="T22" fmla="*/ 44 w 397"/>
                    <a:gd name="T23" fmla="*/ 69 h 393"/>
                    <a:gd name="T24" fmla="*/ 61 w 397"/>
                    <a:gd name="T25" fmla="*/ 60 h 393"/>
                    <a:gd name="T26" fmla="*/ 89 w 397"/>
                    <a:gd name="T27" fmla="*/ 76 h 393"/>
                    <a:gd name="T28" fmla="*/ 126 w 397"/>
                    <a:gd name="T29" fmla="*/ 30 h 393"/>
                    <a:gd name="T30" fmla="*/ 142 w 397"/>
                    <a:gd name="T31" fmla="*/ 7 h 393"/>
                    <a:gd name="T32" fmla="*/ 183 w 397"/>
                    <a:gd name="T33" fmla="*/ 0 h 393"/>
                    <a:gd name="T34" fmla="*/ 206 w 397"/>
                    <a:gd name="T35" fmla="*/ 34 h 393"/>
                    <a:gd name="T36" fmla="*/ 266 w 397"/>
                    <a:gd name="T37" fmla="*/ 27 h 393"/>
                    <a:gd name="T38" fmla="*/ 294 w 397"/>
                    <a:gd name="T39" fmla="*/ 22 h 393"/>
                    <a:gd name="T40" fmla="*/ 334 w 397"/>
                    <a:gd name="T41" fmla="*/ 56 h 393"/>
                    <a:gd name="T42" fmla="*/ 319 w 397"/>
                    <a:gd name="T43" fmla="*/ 88 h 393"/>
                    <a:gd name="T44" fmla="*/ 365 w 397"/>
                    <a:gd name="T45" fmla="*/ 125 h 393"/>
                    <a:gd name="T46" fmla="*/ 380 w 397"/>
                    <a:gd name="T47" fmla="*/ 128 h 393"/>
                    <a:gd name="T48" fmla="*/ 395 w 397"/>
                    <a:gd name="T49" fmla="*/ 178 h 393"/>
                    <a:gd name="T50" fmla="*/ 359 w 397"/>
                    <a:gd name="T51" fmla="*/ 205 h 393"/>
                    <a:gd name="T52" fmla="*/ 366 w 397"/>
                    <a:gd name="T53" fmla="*/ 265 h 393"/>
                    <a:gd name="T54" fmla="*/ 349 w 397"/>
                    <a:gd name="T55" fmla="*/ 324 h 393"/>
                    <a:gd name="T56" fmla="*/ 333 w 397"/>
                    <a:gd name="T57" fmla="*/ 333 h 393"/>
                    <a:gd name="T58" fmla="*/ 304 w 397"/>
                    <a:gd name="T59" fmla="*/ 318 h 393"/>
                    <a:gd name="T60" fmla="*/ 267 w 397"/>
                    <a:gd name="T61" fmla="*/ 363 h 393"/>
                    <a:gd name="T62" fmla="*/ 214 w 397"/>
                    <a:gd name="T63" fmla="*/ 393 h 393"/>
                    <a:gd name="T64" fmla="*/ 199 w 397"/>
                    <a:gd name="T65" fmla="*/ 141 h 393"/>
                    <a:gd name="T66" fmla="*/ 199 w 397"/>
                    <a:gd name="T67" fmla="*/ 252 h 393"/>
                    <a:gd name="T68" fmla="*/ 199 w 397"/>
                    <a:gd name="T69" fmla="*/ 141 h 3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97" h="393">
                      <a:moveTo>
                        <a:pt x="210" y="393"/>
                      </a:moveTo>
                      <a:cubicBezTo>
                        <a:pt x="206" y="393"/>
                        <a:pt x="202" y="392"/>
                        <a:pt x="199" y="390"/>
                      </a:cubicBezTo>
                      <a:cubicBezTo>
                        <a:pt x="194" y="387"/>
                        <a:pt x="191" y="382"/>
                        <a:pt x="190" y="376"/>
                      </a:cubicBezTo>
                      <a:cubicBezTo>
                        <a:pt x="187" y="357"/>
                        <a:pt x="187" y="357"/>
                        <a:pt x="187" y="357"/>
                      </a:cubicBezTo>
                      <a:cubicBezTo>
                        <a:pt x="171" y="356"/>
                        <a:pt x="155" y="353"/>
                        <a:pt x="140" y="347"/>
                      </a:cubicBezTo>
                      <a:cubicBezTo>
                        <a:pt x="128" y="365"/>
                        <a:pt x="128" y="365"/>
                        <a:pt x="128" y="365"/>
                      </a:cubicBezTo>
                      <a:cubicBezTo>
                        <a:pt x="125" y="369"/>
                        <a:pt x="121" y="373"/>
                        <a:pt x="115" y="374"/>
                      </a:cubicBezTo>
                      <a:cubicBezTo>
                        <a:pt x="114" y="374"/>
                        <a:pt x="113" y="374"/>
                        <a:pt x="112" y="374"/>
                      </a:cubicBezTo>
                      <a:cubicBezTo>
                        <a:pt x="108" y="374"/>
                        <a:pt x="104" y="373"/>
                        <a:pt x="100" y="370"/>
                      </a:cubicBezTo>
                      <a:cubicBezTo>
                        <a:pt x="68" y="349"/>
                        <a:pt x="68" y="349"/>
                        <a:pt x="68" y="349"/>
                      </a:cubicBezTo>
                      <a:cubicBezTo>
                        <a:pt x="59" y="342"/>
                        <a:pt x="57" y="330"/>
                        <a:pt x="63" y="321"/>
                      </a:cubicBezTo>
                      <a:cubicBezTo>
                        <a:pt x="76" y="302"/>
                        <a:pt x="76" y="302"/>
                        <a:pt x="76" y="302"/>
                      </a:cubicBezTo>
                      <a:cubicBezTo>
                        <a:pt x="65" y="290"/>
                        <a:pt x="56" y="276"/>
                        <a:pt x="50" y="262"/>
                      </a:cubicBezTo>
                      <a:cubicBezTo>
                        <a:pt x="32" y="265"/>
                        <a:pt x="32" y="265"/>
                        <a:pt x="32" y="265"/>
                      </a:cubicBezTo>
                      <a:cubicBezTo>
                        <a:pt x="31" y="265"/>
                        <a:pt x="29" y="266"/>
                        <a:pt x="28" y="266"/>
                      </a:cubicBezTo>
                      <a:cubicBezTo>
                        <a:pt x="24" y="266"/>
                        <a:pt x="20" y="264"/>
                        <a:pt x="17" y="262"/>
                      </a:cubicBezTo>
                      <a:cubicBezTo>
                        <a:pt x="12" y="259"/>
                        <a:pt x="9" y="254"/>
                        <a:pt x="8" y="249"/>
                      </a:cubicBezTo>
                      <a:cubicBezTo>
                        <a:pt x="2" y="213"/>
                        <a:pt x="2" y="213"/>
                        <a:pt x="2" y="213"/>
                      </a:cubicBezTo>
                      <a:cubicBezTo>
                        <a:pt x="0" y="203"/>
                        <a:pt x="7" y="192"/>
                        <a:pt x="18" y="190"/>
                      </a:cubicBezTo>
                      <a:cubicBezTo>
                        <a:pt x="36" y="187"/>
                        <a:pt x="36" y="187"/>
                        <a:pt x="36" y="187"/>
                      </a:cubicBezTo>
                      <a:cubicBezTo>
                        <a:pt x="37" y="171"/>
                        <a:pt x="40" y="155"/>
                        <a:pt x="45" y="140"/>
                      </a:cubicBezTo>
                      <a:cubicBezTo>
                        <a:pt x="27" y="128"/>
                        <a:pt x="27" y="128"/>
                        <a:pt x="27" y="128"/>
                      </a:cubicBezTo>
                      <a:cubicBezTo>
                        <a:pt x="18" y="121"/>
                        <a:pt x="16" y="109"/>
                        <a:pt x="22" y="100"/>
                      </a:cubicBezTo>
                      <a:cubicBezTo>
                        <a:pt x="44" y="69"/>
                        <a:pt x="44" y="69"/>
                        <a:pt x="44" y="69"/>
                      </a:cubicBezTo>
                      <a:cubicBezTo>
                        <a:pt x="47" y="64"/>
                        <a:pt x="52" y="61"/>
                        <a:pt x="57" y="60"/>
                      </a:cubicBezTo>
                      <a:cubicBezTo>
                        <a:pt x="58" y="60"/>
                        <a:pt x="59" y="60"/>
                        <a:pt x="61" y="60"/>
                      </a:cubicBezTo>
                      <a:cubicBezTo>
                        <a:pt x="65" y="60"/>
                        <a:pt x="69" y="61"/>
                        <a:pt x="72" y="64"/>
                      </a:cubicBezTo>
                      <a:cubicBezTo>
                        <a:pt x="89" y="76"/>
                        <a:pt x="89" y="76"/>
                        <a:pt x="89" y="76"/>
                      </a:cubicBezTo>
                      <a:cubicBezTo>
                        <a:pt x="101" y="65"/>
                        <a:pt x="115" y="55"/>
                        <a:pt x="130" y="48"/>
                      </a:cubicBezTo>
                      <a:cubicBezTo>
                        <a:pt x="126" y="30"/>
                        <a:pt x="126" y="30"/>
                        <a:pt x="126" y="30"/>
                      </a:cubicBezTo>
                      <a:cubicBezTo>
                        <a:pt x="125" y="25"/>
                        <a:pt x="126" y="19"/>
                        <a:pt x="129" y="15"/>
                      </a:cubicBezTo>
                      <a:cubicBezTo>
                        <a:pt x="132" y="11"/>
                        <a:pt x="137" y="8"/>
                        <a:pt x="142" y="7"/>
                      </a:cubicBezTo>
                      <a:cubicBezTo>
                        <a:pt x="179" y="0"/>
                        <a:pt x="179" y="0"/>
                        <a:pt x="179" y="0"/>
                      </a:cubicBezTo>
                      <a:cubicBezTo>
                        <a:pt x="181" y="0"/>
                        <a:pt x="182" y="0"/>
                        <a:pt x="183" y="0"/>
                      </a:cubicBezTo>
                      <a:cubicBezTo>
                        <a:pt x="192" y="0"/>
                        <a:pt x="201" y="6"/>
                        <a:pt x="202" y="16"/>
                      </a:cubicBezTo>
                      <a:cubicBezTo>
                        <a:pt x="206" y="34"/>
                        <a:pt x="206" y="34"/>
                        <a:pt x="206" y="34"/>
                      </a:cubicBezTo>
                      <a:cubicBezTo>
                        <a:pt x="223" y="35"/>
                        <a:pt x="239" y="38"/>
                        <a:pt x="254" y="44"/>
                      </a:cubicBezTo>
                      <a:cubicBezTo>
                        <a:pt x="266" y="27"/>
                        <a:pt x="266" y="27"/>
                        <a:pt x="266" y="27"/>
                      </a:cubicBezTo>
                      <a:cubicBezTo>
                        <a:pt x="270" y="22"/>
                        <a:pt x="276" y="19"/>
                        <a:pt x="283" y="19"/>
                      </a:cubicBezTo>
                      <a:cubicBezTo>
                        <a:pt x="286" y="19"/>
                        <a:pt x="290" y="20"/>
                        <a:pt x="294" y="22"/>
                      </a:cubicBezTo>
                      <a:cubicBezTo>
                        <a:pt x="325" y="43"/>
                        <a:pt x="325" y="43"/>
                        <a:pt x="325" y="43"/>
                      </a:cubicBezTo>
                      <a:cubicBezTo>
                        <a:pt x="330" y="46"/>
                        <a:pt x="333" y="51"/>
                        <a:pt x="334" y="56"/>
                      </a:cubicBezTo>
                      <a:cubicBezTo>
                        <a:pt x="335" y="61"/>
                        <a:pt x="334" y="67"/>
                        <a:pt x="331" y="71"/>
                      </a:cubicBezTo>
                      <a:cubicBezTo>
                        <a:pt x="319" y="88"/>
                        <a:pt x="319" y="88"/>
                        <a:pt x="319" y="88"/>
                      </a:cubicBezTo>
                      <a:cubicBezTo>
                        <a:pt x="330" y="100"/>
                        <a:pt x="338" y="114"/>
                        <a:pt x="345" y="129"/>
                      </a:cubicBezTo>
                      <a:cubicBezTo>
                        <a:pt x="365" y="125"/>
                        <a:pt x="365" y="125"/>
                        <a:pt x="365" y="125"/>
                      </a:cubicBezTo>
                      <a:cubicBezTo>
                        <a:pt x="366" y="125"/>
                        <a:pt x="367" y="125"/>
                        <a:pt x="369" y="125"/>
                      </a:cubicBezTo>
                      <a:cubicBezTo>
                        <a:pt x="373" y="125"/>
                        <a:pt x="376" y="126"/>
                        <a:pt x="380" y="128"/>
                      </a:cubicBezTo>
                      <a:cubicBezTo>
                        <a:pt x="384" y="131"/>
                        <a:pt x="387" y="136"/>
                        <a:pt x="388" y="141"/>
                      </a:cubicBezTo>
                      <a:cubicBezTo>
                        <a:pt x="395" y="178"/>
                        <a:pt x="395" y="178"/>
                        <a:pt x="395" y="178"/>
                      </a:cubicBezTo>
                      <a:cubicBezTo>
                        <a:pt x="397" y="189"/>
                        <a:pt x="390" y="199"/>
                        <a:pt x="379" y="201"/>
                      </a:cubicBezTo>
                      <a:cubicBezTo>
                        <a:pt x="359" y="205"/>
                        <a:pt x="359" y="205"/>
                        <a:pt x="359" y="205"/>
                      </a:cubicBezTo>
                      <a:cubicBezTo>
                        <a:pt x="358" y="222"/>
                        <a:pt x="355" y="238"/>
                        <a:pt x="349" y="253"/>
                      </a:cubicBezTo>
                      <a:cubicBezTo>
                        <a:pt x="366" y="265"/>
                        <a:pt x="366" y="265"/>
                        <a:pt x="366" y="265"/>
                      </a:cubicBezTo>
                      <a:cubicBezTo>
                        <a:pt x="375" y="271"/>
                        <a:pt x="377" y="284"/>
                        <a:pt x="371" y="293"/>
                      </a:cubicBezTo>
                      <a:cubicBezTo>
                        <a:pt x="349" y="324"/>
                        <a:pt x="349" y="324"/>
                        <a:pt x="349" y="324"/>
                      </a:cubicBezTo>
                      <a:cubicBezTo>
                        <a:pt x="346" y="329"/>
                        <a:pt x="342" y="332"/>
                        <a:pt x="337" y="333"/>
                      </a:cubicBezTo>
                      <a:cubicBezTo>
                        <a:pt x="335" y="333"/>
                        <a:pt x="334" y="333"/>
                        <a:pt x="333" y="333"/>
                      </a:cubicBezTo>
                      <a:cubicBezTo>
                        <a:pt x="329" y="333"/>
                        <a:pt x="325" y="332"/>
                        <a:pt x="322" y="330"/>
                      </a:cubicBezTo>
                      <a:cubicBezTo>
                        <a:pt x="304" y="318"/>
                        <a:pt x="304" y="318"/>
                        <a:pt x="304" y="318"/>
                      </a:cubicBezTo>
                      <a:cubicBezTo>
                        <a:pt x="292" y="328"/>
                        <a:pt x="278" y="337"/>
                        <a:pt x="264" y="343"/>
                      </a:cubicBezTo>
                      <a:cubicBezTo>
                        <a:pt x="267" y="363"/>
                        <a:pt x="267" y="363"/>
                        <a:pt x="267" y="363"/>
                      </a:cubicBezTo>
                      <a:cubicBezTo>
                        <a:pt x="268" y="374"/>
                        <a:pt x="261" y="384"/>
                        <a:pt x="251" y="386"/>
                      </a:cubicBezTo>
                      <a:cubicBezTo>
                        <a:pt x="214" y="393"/>
                        <a:pt x="214" y="393"/>
                        <a:pt x="214" y="393"/>
                      </a:cubicBezTo>
                      <a:cubicBezTo>
                        <a:pt x="213" y="393"/>
                        <a:pt x="211" y="393"/>
                        <a:pt x="210" y="393"/>
                      </a:cubicBezTo>
                      <a:close/>
                      <a:moveTo>
                        <a:pt x="199" y="141"/>
                      </a:moveTo>
                      <a:cubicBezTo>
                        <a:pt x="168" y="141"/>
                        <a:pt x="143" y="166"/>
                        <a:pt x="143" y="197"/>
                      </a:cubicBezTo>
                      <a:cubicBezTo>
                        <a:pt x="143" y="227"/>
                        <a:pt x="168" y="252"/>
                        <a:pt x="199" y="252"/>
                      </a:cubicBezTo>
                      <a:cubicBezTo>
                        <a:pt x="229" y="252"/>
                        <a:pt x="254" y="227"/>
                        <a:pt x="254" y="197"/>
                      </a:cubicBezTo>
                      <a:cubicBezTo>
                        <a:pt x="254" y="166"/>
                        <a:pt x="229" y="141"/>
                        <a:pt x="199" y="141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63" name="Freeform 31"/>
              <p:cNvSpPr>
                <a:spLocks noEditPoints="1"/>
              </p:cNvSpPr>
              <p:nvPr/>
            </p:nvSpPr>
            <p:spPr bwMode="auto">
              <a:xfrm>
                <a:off x="2377942" y="2235433"/>
                <a:ext cx="503827" cy="502981"/>
              </a:xfrm>
              <a:custGeom>
                <a:avLst/>
                <a:gdLst>
                  <a:gd name="T0" fmla="*/ 334 w 729"/>
                  <a:gd name="T1" fmla="*/ 728 h 728"/>
                  <a:gd name="T2" fmla="*/ 231 w 729"/>
                  <a:gd name="T3" fmla="*/ 677 h 728"/>
                  <a:gd name="T4" fmla="*/ 161 w 729"/>
                  <a:gd name="T5" fmla="*/ 589 h 728"/>
                  <a:gd name="T6" fmla="*/ 110 w 729"/>
                  <a:gd name="T7" fmla="*/ 618 h 728"/>
                  <a:gd name="T8" fmla="*/ 38 w 729"/>
                  <a:gd name="T9" fmla="*/ 540 h 728"/>
                  <a:gd name="T10" fmla="*/ 45 w 729"/>
                  <a:gd name="T11" fmla="*/ 495 h 728"/>
                  <a:gd name="T12" fmla="*/ 77 w 729"/>
                  <a:gd name="T13" fmla="*/ 469 h 728"/>
                  <a:gd name="T14" fmla="*/ 59 w 729"/>
                  <a:gd name="T15" fmla="*/ 381 h 728"/>
                  <a:gd name="T16" fmla="*/ 7 w 729"/>
                  <a:gd name="T17" fmla="*/ 363 h 728"/>
                  <a:gd name="T18" fmla="*/ 15 w 729"/>
                  <a:gd name="T19" fmla="*/ 261 h 728"/>
                  <a:gd name="T20" fmla="*/ 47 w 729"/>
                  <a:gd name="T21" fmla="*/ 234 h 728"/>
                  <a:gd name="T22" fmla="*/ 84 w 729"/>
                  <a:gd name="T23" fmla="*/ 241 h 728"/>
                  <a:gd name="T24" fmla="*/ 112 w 729"/>
                  <a:gd name="T25" fmla="*/ 132 h 728"/>
                  <a:gd name="T26" fmla="*/ 120 w 729"/>
                  <a:gd name="T27" fmla="*/ 86 h 728"/>
                  <a:gd name="T28" fmla="*/ 203 w 729"/>
                  <a:gd name="T29" fmla="*/ 34 h 728"/>
                  <a:gd name="T30" fmla="*/ 253 w 729"/>
                  <a:gd name="T31" fmla="*/ 81 h 728"/>
                  <a:gd name="T32" fmla="*/ 259 w 729"/>
                  <a:gd name="T33" fmla="*/ 79 h 728"/>
                  <a:gd name="T34" fmla="*/ 349 w 729"/>
                  <a:gd name="T35" fmla="*/ 27 h 728"/>
                  <a:gd name="T36" fmla="*/ 381 w 729"/>
                  <a:gd name="T37" fmla="*/ 0 h 728"/>
                  <a:gd name="T38" fmla="*/ 464 w 729"/>
                  <a:gd name="T39" fmla="*/ 14 h 728"/>
                  <a:gd name="T40" fmla="*/ 484 w 729"/>
                  <a:gd name="T41" fmla="*/ 89 h 728"/>
                  <a:gd name="T42" fmla="*/ 594 w 729"/>
                  <a:gd name="T43" fmla="*/ 115 h 728"/>
                  <a:gd name="T44" fmla="*/ 639 w 729"/>
                  <a:gd name="T45" fmla="*/ 123 h 728"/>
                  <a:gd name="T46" fmla="*/ 676 w 729"/>
                  <a:gd name="T47" fmla="*/ 233 h 728"/>
                  <a:gd name="T48" fmla="*/ 642 w 729"/>
                  <a:gd name="T49" fmla="*/ 260 h 728"/>
                  <a:gd name="T50" fmla="*/ 660 w 729"/>
                  <a:gd name="T51" fmla="*/ 345 h 728"/>
                  <a:gd name="T52" fmla="*/ 722 w 729"/>
                  <a:gd name="T53" fmla="*/ 365 h 728"/>
                  <a:gd name="T54" fmla="*/ 713 w 729"/>
                  <a:gd name="T55" fmla="*/ 467 h 728"/>
                  <a:gd name="T56" fmla="*/ 676 w 729"/>
                  <a:gd name="T57" fmla="*/ 493 h 728"/>
                  <a:gd name="T58" fmla="*/ 586 w 729"/>
                  <a:gd name="T59" fmla="*/ 561 h 728"/>
                  <a:gd name="T60" fmla="*/ 602 w 729"/>
                  <a:gd name="T61" fmla="*/ 642 h 728"/>
                  <a:gd name="T62" fmla="*/ 519 w 729"/>
                  <a:gd name="T63" fmla="*/ 693 h 728"/>
                  <a:gd name="T64" fmla="*/ 467 w 729"/>
                  <a:gd name="T65" fmla="*/ 644 h 728"/>
                  <a:gd name="T66" fmla="*/ 460 w 729"/>
                  <a:gd name="T67" fmla="*/ 647 h 728"/>
                  <a:gd name="T68" fmla="*/ 372 w 729"/>
                  <a:gd name="T69" fmla="*/ 702 h 728"/>
                  <a:gd name="T70" fmla="*/ 364 w 729"/>
                  <a:gd name="T71" fmla="*/ 273 h 728"/>
                  <a:gd name="T72" fmla="*/ 364 w 729"/>
                  <a:gd name="T73" fmla="*/ 455 h 728"/>
                  <a:gd name="T74" fmla="*/ 364 w 729"/>
                  <a:gd name="T75" fmla="*/ 273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29" h="728">
                    <a:moveTo>
                      <a:pt x="340" y="728"/>
                    </a:moveTo>
                    <a:cubicBezTo>
                      <a:pt x="338" y="728"/>
                      <a:pt x="336" y="728"/>
                      <a:pt x="334" y="728"/>
                    </a:cubicBezTo>
                    <a:cubicBezTo>
                      <a:pt x="258" y="714"/>
                      <a:pt x="258" y="714"/>
                      <a:pt x="258" y="714"/>
                    </a:cubicBezTo>
                    <a:cubicBezTo>
                      <a:pt x="240" y="711"/>
                      <a:pt x="228" y="694"/>
                      <a:pt x="231" y="677"/>
                    </a:cubicBezTo>
                    <a:cubicBezTo>
                      <a:pt x="238" y="638"/>
                      <a:pt x="238" y="638"/>
                      <a:pt x="238" y="638"/>
                    </a:cubicBezTo>
                    <a:cubicBezTo>
                      <a:pt x="210" y="626"/>
                      <a:pt x="184" y="609"/>
                      <a:pt x="161" y="589"/>
                    </a:cubicBezTo>
                    <a:cubicBezTo>
                      <a:pt x="128" y="612"/>
                      <a:pt x="128" y="612"/>
                      <a:pt x="128" y="612"/>
                    </a:cubicBezTo>
                    <a:cubicBezTo>
                      <a:pt x="122" y="616"/>
                      <a:pt x="116" y="618"/>
                      <a:pt x="110" y="618"/>
                    </a:cubicBezTo>
                    <a:cubicBezTo>
                      <a:pt x="99" y="618"/>
                      <a:pt x="89" y="613"/>
                      <a:pt x="83" y="604"/>
                    </a:cubicBezTo>
                    <a:cubicBezTo>
                      <a:pt x="38" y="540"/>
                      <a:pt x="38" y="540"/>
                      <a:pt x="38" y="540"/>
                    </a:cubicBezTo>
                    <a:cubicBezTo>
                      <a:pt x="33" y="533"/>
                      <a:pt x="31" y="524"/>
                      <a:pt x="32" y="516"/>
                    </a:cubicBezTo>
                    <a:cubicBezTo>
                      <a:pt x="34" y="507"/>
                      <a:pt x="38" y="500"/>
                      <a:pt x="45" y="495"/>
                    </a:cubicBezTo>
                    <a:cubicBezTo>
                      <a:pt x="79" y="471"/>
                      <a:pt x="79" y="471"/>
                      <a:pt x="79" y="471"/>
                    </a:cubicBezTo>
                    <a:cubicBezTo>
                      <a:pt x="77" y="469"/>
                      <a:pt x="77" y="469"/>
                      <a:pt x="77" y="469"/>
                    </a:cubicBezTo>
                    <a:cubicBezTo>
                      <a:pt x="77" y="467"/>
                      <a:pt x="76" y="465"/>
                      <a:pt x="75" y="463"/>
                    </a:cubicBezTo>
                    <a:cubicBezTo>
                      <a:pt x="66" y="437"/>
                      <a:pt x="61" y="409"/>
                      <a:pt x="59" y="381"/>
                    </a:cubicBezTo>
                    <a:cubicBezTo>
                      <a:pt x="28" y="376"/>
                      <a:pt x="28" y="376"/>
                      <a:pt x="28" y="376"/>
                    </a:cubicBezTo>
                    <a:cubicBezTo>
                      <a:pt x="20" y="375"/>
                      <a:pt x="12" y="370"/>
                      <a:pt x="7" y="363"/>
                    </a:cubicBezTo>
                    <a:cubicBezTo>
                      <a:pt x="2" y="356"/>
                      <a:pt x="0" y="347"/>
                      <a:pt x="1" y="339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6" y="253"/>
                      <a:pt x="21" y="245"/>
                      <a:pt x="28" y="240"/>
                    </a:cubicBezTo>
                    <a:cubicBezTo>
                      <a:pt x="34" y="236"/>
                      <a:pt x="40" y="234"/>
                      <a:pt x="47" y="234"/>
                    </a:cubicBezTo>
                    <a:cubicBezTo>
                      <a:pt x="49" y="234"/>
                      <a:pt x="51" y="235"/>
                      <a:pt x="53" y="235"/>
                    </a:cubicBezTo>
                    <a:cubicBezTo>
                      <a:pt x="84" y="241"/>
                      <a:pt x="84" y="241"/>
                      <a:pt x="84" y="241"/>
                    </a:cubicBezTo>
                    <a:cubicBezTo>
                      <a:pt x="97" y="212"/>
                      <a:pt x="114" y="186"/>
                      <a:pt x="134" y="163"/>
                    </a:cubicBezTo>
                    <a:cubicBezTo>
                      <a:pt x="112" y="132"/>
                      <a:pt x="112" y="132"/>
                      <a:pt x="112" y="132"/>
                    </a:cubicBezTo>
                    <a:cubicBezTo>
                      <a:pt x="107" y="124"/>
                      <a:pt x="105" y="116"/>
                      <a:pt x="106" y="107"/>
                    </a:cubicBezTo>
                    <a:cubicBezTo>
                      <a:pt x="108" y="99"/>
                      <a:pt x="112" y="91"/>
                      <a:pt x="120" y="86"/>
                    </a:cubicBezTo>
                    <a:cubicBezTo>
                      <a:pt x="184" y="40"/>
                      <a:pt x="184" y="40"/>
                      <a:pt x="184" y="40"/>
                    </a:cubicBezTo>
                    <a:cubicBezTo>
                      <a:pt x="190" y="36"/>
                      <a:pt x="196" y="34"/>
                      <a:pt x="203" y="34"/>
                    </a:cubicBezTo>
                    <a:cubicBezTo>
                      <a:pt x="213" y="34"/>
                      <a:pt x="223" y="39"/>
                      <a:pt x="230" y="48"/>
                    </a:cubicBezTo>
                    <a:cubicBezTo>
                      <a:pt x="253" y="81"/>
                      <a:pt x="253" y="81"/>
                      <a:pt x="253" y="81"/>
                    </a:cubicBezTo>
                    <a:cubicBezTo>
                      <a:pt x="256" y="80"/>
                      <a:pt x="256" y="80"/>
                      <a:pt x="256" y="80"/>
                    </a:cubicBezTo>
                    <a:cubicBezTo>
                      <a:pt x="257" y="80"/>
                      <a:pt x="258" y="79"/>
                      <a:pt x="259" y="79"/>
                    </a:cubicBezTo>
                    <a:cubicBezTo>
                      <a:pt x="286" y="69"/>
                      <a:pt x="314" y="64"/>
                      <a:pt x="343" y="62"/>
                    </a:cubicBezTo>
                    <a:cubicBezTo>
                      <a:pt x="349" y="27"/>
                      <a:pt x="349" y="27"/>
                      <a:pt x="349" y="27"/>
                    </a:cubicBezTo>
                    <a:cubicBezTo>
                      <a:pt x="351" y="19"/>
                      <a:pt x="355" y="11"/>
                      <a:pt x="362" y="6"/>
                    </a:cubicBezTo>
                    <a:cubicBezTo>
                      <a:pt x="368" y="2"/>
                      <a:pt x="375" y="0"/>
                      <a:pt x="381" y="0"/>
                    </a:cubicBezTo>
                    <a:cubicBezTo>
                      <a:pt x="383" y="0"/>
                      <a:pt x="385" y="0"/>
                      <a:pt x="387" y="1"/>
                    </a:cubicBezTo>
                    <a:cubicBezTo>
                      <a:pt x="464" y="14"/>
                      <a:pt x="464" y="14"/>
                      <a:pt x="464" y="14"/>
                    </a:cubicBezTo>
                    <a:cubicBezTo>
                      <a:pt x="481" y="17"/>
                      <a:pt x="493" y="34"/>
                      <a:pt x="490" y="52"/>
                    </a:cubicBezTo>
                    <a:cubicBezTo>
                      <a:pt x="484" y="89"/>
                      <a:pt x="484" y="89"/>
                      <a:pt x="484" y="89"/>
                    </a:cubicBezTo>
                    <a:cubicBezTo>
                      <a:pt x="512" y="101"/>
                      <a:pt x="537" y="118"/>
                      <a:pt x="560" y="138"/>
                    </a:cubicBezTo>
                    <a:cubicBezTo>
                      <a:pt x="594" y="115"/>
                      <a:pt x="594" y="115"/>
                      <a:pt x="594" y="115"/>
                    </a:cubicBezTo>
                    <a:cubicBezTo>
                      <a:pt x="600" y="111"/>
                      <a:pt x="606" y="109"/>
                      <a:pt x="612" y="109"/>
                    </a:cubicBezTo>
                    <a:cubicBezTo>
                      <a:pt x="623" y="109"/>
                      <a:pt x="633" y="114"/>
                      <a:pt x="639" y="123"/>
                    </a:cubicBezTo>
                    <a:cubicBezTo>
                      <a:pt x="684" y="188"/>
                      <a:pt x="684" y="188"/>
                      <a:pt x="684" y="188"/>
                    </a:cubicBezTo>
                    <a:cubicBezTo>
                      <a:pt x="694" y="202"/>
                      <a:pt x="690" y="222"/>
                      <a:pt x="676" y="233"/>
                    </a:cubicBezTo>
                    <a:cubicBezTo>
                      <a:pt x="641" y="257"/>
                      <a:pt x="641" y="257"/>
                      <a:pt x="641" y="257"/>
                    </a:cubicBezTo>
                    <a:cubicBezTo>
                      <a:pt x="641" y="257"/>
                      <a:pt x="642" y="260"/>
                      <a:pt x="642" y="260"/>
                    </a:cubicBezTo>
                    <a:cubicBezTo>
                      <a:pt x="643" y="261"/>
                      <a:pt x="643" y="262"/>
                      <a:pt x="643" y="263"/>
                    </a:cubicBezTo>
                    <a:cubicBezTo>
                      <a:pt x="653" y="289"/>
                      <a:pt x="658" y="317"/>
                      <a:pt x="660" y="345"/>
                    </a:cubicBezTo>
                    <a:cubicBezTo>
                      <a:pt x="701" y="352"/>
                      <a:pt x="701" y="352"/>
                      <a:pt x="701" y="352"/>
                    </a:cubicBezTo>
                    <a:cubicBezTo>
                      <a:pt x="709" y="353"/>
                      <a:pt x="717" y="358"/>
                      <a:pt x="722" y="365"/>
                    </a:cubicBezTo>
                    <a:cubicBezTo>
                      <a:pt x="727" y="372"/>
                      <a:pt x="729" y="381"/>
                      <a:pt x="727" y="390"/>
                    </a:cubicBezTo>
                    <a:cubicBezTo>
                      <a:pt x="713" y="467"/>
                      <a:pt x="713" y="467"/>
                      <a:pt x="713" y="467"/>
                    </a:cubicBezTo>
                    <a:cubicBezTo>
                      <a:pt x="711" y="483"/>
                      <a:pt x="697" y="494"/>
                      <a:pt x="681" y="494"/>
                    </a:cubicBezTo>
                    <a:cubicBezTo>
                      <a:pt x="680" y="494"/>
                      <a:pt x="678" y="494"/>
                      <a:pt x="676" y="493"/>
                    </a:cubicBezTo>
                    <a:cubicBezTo>
                      <a:pt x="634" y="486"/>
                      <a:pt x="634" y="486"/>
                      <a:pt x="634" y="486"/>
                    </a:cubicBezTo>
                    <a:cubicBezTo>
                      <a:pt x="622" y="513"/>
                      <a:pt x="606" y="539"/>
                      <a:pt x="586" y="561"/>
                    </a:cubicBezTo>
                    <a:cubicBezTo>
                      <a:pt x="610" y="597"/>
                      <a:pt x="610" y="597"/>
                      <a:pt x="610" y="597"/>
                    </a:cubicBezTo>
                    <a:cubicBezTo>
                      <a:pt x="620" y="612"/>
                      <a:pt x="616" y="631"/>
                      <a:pt x="602" y="642"/>
                    </a:cubicBezTo>
                    <a:cubicBezTo>
                      <a:pt x="538" y="687"/>
                      <a:pt x="538" y="687"/>
                      <a:pt x="538" y="687"/>
                    </a:cubicBezTo>
                    <a:cubicBezTo>
                      <a:pt x="532" y="691"/>
                      <a:pt x="526" y="693"/>
                      <a:pt x="519" y="693"/>
                    </a:cubicBezTo>
                    <a:cubicBezTo>
                      <a:pt x="509" y="693"/>
                      <a:pt x="499" y="688"/>
                      <a:pt x="493" y="679"/>
                    </a:cubicBezTo>
                    <a:cubicBezTo>
                      <a:pt x="467" y="644"/>
                      <a:pt x="467" y="644"/>
                      <a:pt x="467" y="644"/>
                    </a:cubicBezTo>
                    <a:cubicBezTo>
                      <a:pt x="465" y="645"/>
                      <a:pt x="465" y="645"/>
                      <a:pt x="465" y="645"/>
                    </a:cubicBezTo>
                    <a:cubicBezTo>
                      <a:pt x="463" y="646"/>
                      <a:pt x="461" y="646"/>
                      <a:pt x="460" y="647"/>
                    </a:cubicBezTo>
                    <a:cubicBezTo>
                      <a:pt x="434" y="656"/>
                      <a:pt x="406" y="662"/>
                      <a:pt x="379" y="663"/>
                    </a:cubicBezTo>
                    <a:cubicBezTo>
                      <a:pt x="372" y="702"/>
                      <a:pt x="372" y="702"/>
                      <a:pt x="372" y="702"/>
                    </a:cubicBezTo>
                    <a:cubicBezTo>
                      <a:pt x="369" y="717"/>
                      <a:pt x="355" y="728"/>
                      <a:pt x="340" y="728"/>
                    </a:cubicBezTo>
                    <a:close/>
                    <a:moveTo>
                      <a:pt x="364" y="273"/>
                    </a:moveTo>
                    <a:cubicBezTo>
                      <a:pt x="314" y="273"/>
                      <a:pt x="274" y="314"/>
                      <a:pt x="274" y="364"/>
                    </a:cubicBezTo>
                    <a:cubicBezTo>
                      <a:pt x="274" y="414"/>
                      <a:pt x="314" y="455"/>
                      <a:pt x="364" y="455"/>
                    </a:cubicBezTo>
                    <a:cubicBezTo>
                      <a:pt x="415" y="455"/>
                      <a:pt x="455" y="414"/>
                      <a:pt x="455" y="364"/>
                    </a:cubicBezTo>
                    <a:cubicBezTo>
                      <a:pt x="455" y="314"/>
                      <a:pt x="415" y="273"/>
                      <a:pt x="364" y="27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2" name="Group 81"/>
          <p:cNvGrpSpPr/>
          <p:nvPr/>
        </p:nvGrpSpPr>
        <p:grpSpPr>
          <a:xfrm>
            <a:off x="5459373" y="1765199"/>
            <a:ext cx="2025229" cy="2025229"/>
            <a:chOff x="5459373" y="1765199"/>
            <a:chExt cx="2025229" cy="2025229"/>
          </a:xfrm>
        </p:grpSpPr>
        <p:sp>
          <p:nvSpPr>
            <p:cNvPr id="19" name="Rechteck 35"/>
            <p:cNvSpPr/>
            <p:nvPr/>
          </p:nvSpPr>
          <p:spPr>
            <a:xfrm>
              <a:off x="5459373" y="1765199"/>
              <a:ext cx="2025229" cy="2025229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5796737" y="2277124"/>
              <a:ext cx="762570" cy="938810"/>
              <a:chOff x="5718059" y="2254332"/>
              <a:chExt cx="762570" cy="938810"/>
            </a:xfrm>
          </p:grpSpPr>
          <p:sp>
            <p:nvSpPr>
              <p:cNvPr id="65" name="Rounded Rectangle 64"/>
              <p:cNvSpPr/>
              <p:nvPr/>
            </p:nvSpPr>
            <p:spPr>
              <a:xfrm>
                <a:off x="5791200" y="3053507"/>
                <a:ext cx="689429" cy="139635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Rounded Rectangle 68"/>
              <p:cNvSpPr/>
              <p:nvPr/>
            </p:nvSpPr>
            <p:spPr>
              <a:xfrm>
                <a:off x="5791200" y="2893672"/>
                <a:ext cx="689429" cy="139635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ounded Rectangle 69"/>
              <p:cNvSpPr/>
              <p:nvPr/>
            </p:nvSpPr>
            <p:spPr>
              <a:xfrm>
                <a:off x="5791200" y="2733837"/>
                <a:ext cx="689429" cy="139635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ounded Rectangle 70"/>
              <p:cNvSpPr/>
              <p:nvPr/>
            </p:nvSpPr>
            <p:spPr>
              <a:xfrm>
                <a:off x="5718059" y="2574002"/>
                <a:ext cx="689429" cy="139635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Rounded Rectangle 71"/>
              <p:cNvSpPr/>
              <p:nvPr/>
            </p:nvSpPr>
            <p:spPr>
              <a:xfrm>
                <a:off x="5718059" y="2414167"/>
                <a:ext cx="689429" cy="139635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3" name="Rounded Rectangle 72"/>
              <p:cNvSpPr/>
              <p:nvPr/>
            </p:nvSpPr>
            <p:spPr>
              <a:xfrm>
                <a:off x="5791200" y="2254332"/>
                <a:ext cx="689429" cy="139635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6554890" y="2652480"/>
              <a:ext cx="683221" cy="563454"/>
              <a:chOff x="5752791" y="2574002"/>
              <a:chExt cx="750744" cy="619140"/>
            </a:xfrm>
            <a:solidFill>
              <a:schemeClr val="accent4">
                <a:lumMod val="60000"/>
                <a:lumOff val="40000"/>
              </a:schemeClr>
            </a:solidFill>
          </p:grpSpPr>
          <p:sp>
            <p:nvSpPr>
              <p:cNvPr id="76" name="Rounded Rectangle 75"/>
              <p:cNvSpPr/>
              <p:nvPr/>
            </p:nvSpPr>
            <p:spPr>
              <a:xfrm>
                <a:off x="5791200" y="3053507"/>
                <a:ext cx="689429" cy="13963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ounded Rectangle 76"/>
              <p:cNvSpPr/>
              <p:nvPr/>
            </p:nvSpPr>
            <p:spPr>
              <a:xfrm>
                <a:off x="5791200" y="2893672"/>
                <a:ext cx="689429" cy="13963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Rounded Rectangle 77"/>
              <p:cNvSpPr/>
              <p:nvPr/>
            </p:nvSpPr>
            <p:spPr>
              <a:xfrm>
                <a:off x="5814106" y="2733837"/>
                <a:ext cx="689429" cy="13963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Rounded Rectangle 78"/>
              <p:cNvSpPr/>
              <p:nvPr/>
            </p:nvSpPr>
            <p:spPr>
              <a:xfrm>
                <a:off x="5752791" y="2574002"/>
                <a:ext cx="689429" cy="13963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07402"/>
            <a:ext cx="8443664" cy="400110"/>
          </a:xfrm>
        </p:spPr>
        <p:txBody>
          <a:bodyPr/>
          <a:lstStyle/>
          <a:p>
            <a:r>
              <a:rPr lang="en-GB" sz="2400" dirty="0"/>
              <a:t>In Fu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273778" y="717216"/>
            <a:ext cx="3557384" cy="369332"/>
          </a:xfr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GB" sz="1800" dirty="0">
                <a:solidFill>
                  <a:schemeClr val="tx2"/>
                </a:solidFill>
                <a:latin typeface="+mn-lt"/>
                <a:cs typeface="+mn-cs"/>
              </a:rPr>
              <a:t>The alternatives must meet market demands for:</a:t>
            </a:r>
          </a:p>
          <a:p>
            <a:pPr marL="0"/>
            <a:endParaRPr lang="en-GB" sz="1800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grpSp>
        <p:nvGrpSpPr>
          <p:cNvPr id="8" name="Group 100"/>
          <p:cNvGrpSpPr/>
          <p:nvPr/>
        </p:nvGrpSpPr>
        <p:grpSpPr>
          <a:xfrm>
            <a:off x="378163" y="1579265"/>
            <a:ext cx="1307578" cy="1249169"/>
            <a:chOff x="1093195" y="1347614"/>
            <a:chExt cx="1124964" cy="1074712"/>
          </a:xfrm>
        </p:grpSpPr>
        <p:sp>
          <p:nvSpPr>
            <p:cNvPr id="9" name="Oval 8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bg1">
                <a:lumMod val="50000"/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093195" y="1636534"/>
              <a:ext cx="1124964" cy="496873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echnical performance (physical)</a:t>
              </a:r>
            </a:p>
          </p:txBody>
        </p:sp>
      </p:grpSp>
      <p:grpSp>
        <p:nvGrpSpPr>
          <p:cNvPr id="16" name="Group 100"/>
          <p:cNvGrpSpPr/>
          <p:nvPr/>
        </p:nvGrpSpPr>
        <p:grpSpPr>
          <a:xfrm>
            <a:off x="4072589" y="1129160"/>
            <a:ext cx="1307578" cy="1249169"/>
            <a:chOff x="1093195" y="1347614"/>
            <a:chExt cx="1124964" cy="1074712"/>
          </a:xfrm>
        </p:grpSpPr>
        <p:sp>
          <p:nvSpPr>
            <p:cNvPr id="17" name="Oval 16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bg1">
                <a:lumMod val="50000"/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093195" y="1611902"/>
              <a:ext cx="1124964" cy="546135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oductivity </a:t>
              </a:r>
              <a:r>
                <a:rPr 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speed / down time for</a:t>
              </a:r>
              <a:br>
                <a:rPr 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leaning)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20" name="Group 100"/>
          <p:cNvGrpSpPr/>
          <p:nvPr/>
        </p:nvGrpSpPr>
        <p:grpSpPr>
          <a:xfrm>
            <a:off x="7283614" y="1804338"/>
            <a:ext cx="1307578" cy="1249169"/>
            <a:chOff x="1093195" y="1347614"/>
            <a:chExt cx="1124964" cy="1074712"/>
          </a:xfrm>
        </p:grpSpPr>
        <p:sp>
          <p:nvSpPr>
            <p:cNvPr id="21" name="Oval 20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bg1">
                <a:lumMod val="50000"/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093195" y="1706042"/>
              <a:ext cx="1124964" cy="35785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otal cost of ownership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922641" y="1579265"/>
            <a:ext cx="1548672" cy="1548672"/>
            <a:chOff x="2922641" y="1579265"/>
            <a:chExt cx="1548672" cy="1548672"/>
          </a:xfrm>
        </p:grpSpPr>
        <p:sp>
          <p:nvSpPr>
            <p:cNvPr id="11" name="Rechteck 35"/>
            <p:cNvSpPr/>
            <p:nvPr/>
          </p:nvSpPr>
          <p:spPr>
            <a:xfrm>
              <a:off x="2922641" y="1579265"/>
              <a:ext cx="1548672" cy="154867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Freeform 5"/>
            <p:cNvSpPr>
              <a:spLocks/>
            </p:cNvSpPr>
            <p:nvPr/>
          </p:nvSpPr>
          <p:spPr bwMode="auto">
            <a:xfrm>
              <a:off x="3120715" y="1772320"/>
              <a:ext cx="1152525" cy="911225"/>
            </a:xfrm>
            <a:custGeom>
              <a:avLst/>
              <a:gdLst>
                <a:gd name="T0" fmla="*/ 337 w 442"/>
                <a:gd name="T1" fmla="*/ 305 h 348"/>
                <a:gd name="T2" fmla="*/ 336 w 442"/>
                <a:gd name="T3" fmla="*/ 303 h 348"/>
                <a:gd name="T4" fmla="*/ 338 w 442"/>
                <a:gd name="T5" fmla="*/ 288 h 348"/>
                <a:gd name="T6" fmla="*/ 353 w 442"/>
                <a:gd name="T7" fmla="*/ 279 h 348"/>
                <a:gd name="T8" fmla="*/ 362 w 442"/>
                <a:gd name="T9" fmla="*/ 282 h 348"/>
                <a:gd name="T10" fmla="*/ 390 w 442"/>
                <a:gd name="T11" fmla="*/ 298 h 348"/>
                <a:gd name="T12" fmla="*/ 405 w 442"/>
                <a:gd name="T13" fmla="*/ 239 h 348"/>
                <a:gd name="T14" fmla="*/ 373 w 442"/>
                <a:gd name="T15" fmla="*/ 239 h 348"/>
                <a:gd name="T16" fmla="*/ 356 w 442"/>
                <a:gd name="T17" fmla="*/ 221 h 348"/>
                <a:gd name="T18" fmla="*/ 373 w 442"/>
                <a:gd name="T19" fmla="*/ 203 h 348"/>
                <a:gd name="T20" fmla="*/ 405 w 442"/>
                <a:gd name="T21" fmla="*/ 203 h 348"/>
                <a:gd name="T22" fmla="*/ 390 w 442"/>
                <a:gd name="T23" fmla="*/ 144 h 348"/>
                <a:gd name="T24" fmla="*/ 362 w 442"/>
                <a:gd name="T25" fmla="*/ 160 h 348"/>
                <a:gd name="T26" fmla="*/ 353 w 442"/>
                <a:gd name="T27" fmla="*/ 163 h 348"/>
                <a:gd name="T28" fmla="*/ 338 w 442"/>
                <a:gd name="T29" fmla="*/ 154 h 348"/>
                <a:gd name="T30" fmla="*/ 336 w 442"/>
                <a:gd name="T31" fmla="*/ 140 h 348"/>
                <a:gd name="T32" fmla="*/ 344 w 442"/>
                <a:gd name="T33" fmla="*/ 129 h 348"/>
                <a:gd name="T34" fmla="*/ 372 w 442"/>
                <a:gd name="T35" fmla="*/ 113 h 348"/>
                <a:gd name="T36" fmla="*/ 329 w 442"/>
                <a:gd name="T37" fmla="*/ 70 h 348"/>
                <a:gd name="T38" fmla="*/ 313 w 442"/>
                <a:gd name="T39" fmla="*/ 98 h 348"/>
                <a:gd name="T40" fmla="*/ 297 w 442"/>
                <a:gd name="T41" fmla="*/ 107 h 348"/>
                <a:gd name="T42" fmla="*/ 288 w 442"/>
                <a:gd name="T43" fmla="*/ 105 h 348"/>
                <a:gd name="T44" fmla="*/ 280 w 442"/>
                <a:gd name="T45" fmla="*/ 94 h 348"/>
                <a:gd name="T46" fmla="*/ 282 w 442"/>
                <a:gd name="T47" fmla="*/ 80 h 348"/>
                <a:gd name="T48" fmla="*/ 298 w 442"/>
                <a:gd name="T49" fmla="*/ 52 h 348"/>
                <a:gd name="T50" fmla="*/ 239 w 442"/>
                <a:gd name="T51" fmla="*/ 37 h 348"/>
                <a:gd name="T52" fmla="*/ 239 w 442"/>
                <a:gd name="T53" fmla="*/ 69 h 348"/>
                <a:gd name="T54" fmla="*/ 221 w 442"/>
                <a:gd name="T55" fmla="*/ 87 h 348"/>
                <a:gd name="T56" fmla="*/ 203 w 442"/>
                <a:gd name="T57" fmla="*/ 69 h 348"/>
                <a:gd name="T58" fmla="*/ 203 w 442"/>
                <a:gd name="T59" fmla="*/ 37 h 348"/>
                <a:gd name="T60" fmla="*/ 144 w 442"/>
                <a:gd name="T61" fmla="*/ 52 h 348"/>
                <a:gd name="T62" fmla="*/ 161 w 442"/>
                <a:gd name="T63" fmla="*/ 80 h 348"/>
                <a:gd name="T64" fmla="*/ 154 w 442"/>
                <a:gd name="T65" fmla="*/ 105 h 348"/>
                <a:gd name="T66" fmla="*/ 145 w 442"/>
                <a:gd name="T67" fmla="*/ 107 h 348"/>
                <a:gd name="T68" fmla="*/ 130 w 442"/>
                <a:gd name="T69" fmla="*/ 98 h 348"/>
                <a:gd name="T70" fmla="*/ 114 w 442"/>
                <a:gd name="T71" fmla="*/ 70 h 348"/>
                <a:gd name="T72" fmla="*/ 71 w 442"/>
                <a:gd name="T73" fmla="*/ 113 h 348"/>
                <a:gd name="T74" fmla="*/ 98 w 442"/>
                <a:gd name="T75" fmla="*/ 129 h 348"/>
                <a:gd name="T76" fmla="*/ 105 w 442"/>
                <a:gd name="T77" fmla="*/ 154 h 348"/>
                <a:gd name="T78" fmla="*/ 89 w 442"/>
                <a:gd name="T79" fmla="*/ 163 h 348"/>
                <a:gd name="T80" fmla="*/ 80 w 442"/>
                <a:gd name="T81" fmla="*/ 160 h 348"/>
                <a:gd name="T82" fmla="*/ 53 w 442"/>
                <a:gd name="T83" fmla="*/ 144 h 348"/>
                <a:gd name="T84" fmla="*/ 37 w 442"/>
                <a:gd name="T85" fmla="*/ 203 h 348"/>
                <a:gd name="T86" fmla="*/ 69 w 442"/>
                <a:gd name="T87" fmla="*/ 203 h 348"/>
                <a:gd name="T88" fmla="*/ 87 w 442"/>
                <a:gd name="T89" fmla="*/ 221 h 348"/>
                <a:gd name="T90" fmla="*/ 69 w 442"/>
                <a:gd name="T91" fmla="*/ 239 h 348"/>
                <a:gd name="T92" fmla="*/ 37 w 442"/>
                <a:gd name="T93" fmla="*/ 239 h 348"/>
                <a:gd name="T94" fmla="*/ 53 w 442"/>
                <a:gd name="T95" fmla="*/ 298 h 348"/>
                <a:gd name="T96" fmla="*/ 80 w 442"/>
                <a:gd name="T97" fmla="*/ 282 h 348"/>
                <a:gd name="T98" fmla="*/ 89 w 442"/>
                <a:gd name="T99" fmla="*/ 279 h 348"/>
                <a:gd name="T100" fmla="*/ 105 w 442"/>
                <a:gd name="T101" fmla="*/ 288 h 348"/>
                <a:gd name="T102" fmla="*/ 107 w 442"/>
                <a:gd name="T103" fmla="*/ 302 h 348"/>
                <a:gd name="T104" fmla="*/ 106 w 442"/>
                <a:gd name="T105" fmla="*/ 305 h 348"/>
                <a:gd name="T106" fmla="*/ 40 w 442"/>
                <a:gd name="T107" fmla="*/ 347 h 348"/>
                <a:gd name="T108" fmla="*/ 35 w 442"/>
                <a:gd name="T109" fmla="*/ 340 h 348"/>
                <a:gd name="T110" fmla="*/ 0 w 442"/>
                <a:gd name="T111" fmla="*/ 221 h 348"/>
                <a:gd name="T112" fmla="*/ 221 w 442"/>
                <a:gd name="T113" fmla="*/ 0 h 348"/>
                <a:gd name="T114" fmla="*/ 442 w 442"/>
                <a:gd name="T115" fmla="*/ 221 h 348"/>
                <a:gd name="T116" fmla="*/ 407 w 442"/>
                <a:gd name="T117" fmla="*/ 341 h 348"/>
                <a:gd name="T118" fmla="*/ 402 w 442"/>
                <a:gd name="T119" fmla="*/ 348 h 348"/>
                <a:gd name="T120" fmla="*/ 337 w 442"/>
                <a:gd name="T121" fmla="*/ 305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348">
                  <a:moveTo>
                    <a:pt x="337" y="305"/>
                  </a:moveTo>
                  <a:cubicBezTo>
                    <a:pt x="336" y="303"/>
                    <a:pt x="336" y="303"/>
                    <a:pt x="336" y="303"/>
                  </a:cubicBezTo>
                  <a:cubicBezTo>
                    <a:pt x="335" y="298"/>
                    <a:pt x="335" y="293"/>
                    <a:pt x="338" y="288"/>
                  </a:cubicBezTo>
                  <a:cubicBezTo>
                    <a:pt x="341" y="283"/>
                    <a:pt x="347" y="279"/>
                    <a:pt x="353" y="279"/>
                  </a:cubicBezTo>
                  <a:cubicBezTo>
                    <a:pt x="356" y="279"/>
                    <a:pt x="359" y="280"/>
                    <a:pt x="362" y="282"/>
                  </a:cubicBezTo>
                  <a:cubicBezTo>
                    <a:pt x="390" y="298"/>
                    <a:pt x="390" y="298"/>
                    <a:pt x="390" y="298"/>
                  </a:cubicBezTo>
                  <a:cubicBezTo>
                    <a:pt x="398" y="279"/>
                    <a:pt x="404" y="259"/>
                    <a:pt x="405" y="239"/>
                  </a:cubicBezTo>
                  <a:cubicBezTo>
                    <a:pt x="373" y="239"/>
                    <a:pt x="373" y="239"/>
                    <a:pt x="373" y="239"/>
                  </a:cubicBezTo>
                  <a:cubicBezTo>
                    <a:pt x="364" y="239"/>
                    <a:pt x="356" y="231"/>
                    <a:pt x="356" y="221"/>
                  </a:cubicBezTo>
                  <a:cubicBezTo>
                    <a:pt x="356" y="211"/>
                    <a:pt x="364" y="203"/>
                    <a:pt x="373" y="203"/>
                  </a:cubicBezTo>
                  <a:cubicBezTo>
                    <a:pt x="405" y="203"/>
                    <a:pt x="405" y="203"/>
                    <a:pt x="405" y="203"/>
                  </a:cubicBezTo>
                  <a:cubicBezTo>
                    <a:pt x="404" y="183"/>
                    <a:pt x="398" y="163"/>
                    <a:pt x="390" y="144"/>
                  </a:cubicBezTo>
                  <a:cubicBezTo>
                    <a:pt x="362" y="160"/>
                    <a:pt x="362" y="160"/>
                    <a:pt x="362" y="160"/>
                  </a:cubicBezTo>
                  <a:cubicBezTo>
                    <a:pt x="359" y="162"/>
                    <a:pt x="356" y="163"/>
                    <a:pt x="353" y="163"/>
                  </a:cubicBezTo>
                  <a:cubicBezTo>
                    <a:pt x="347" y="163"/>
                    <a:pt x="341" y="159"/>
                    <a:pt x="338" y="154"/>
                  </a:cubicBezTo>
                  <a:cubicBezTo>
                    <a:pt x="335" y="150"/>
                    <a:pt x="335" y="145"/>
                    <a:pt x="336" y="140"/>
                  </a:cubicBezTo>
                  <a:cubicBezTo>
                    <a:pt x="337" y="136"/>
                    <a:pt x="340" y="132"/>
                    <a:pt x="344" y="129"/>
                  </a:cubicBezTo>
                  <a:cubicBezTo>
                    <a:pt x="372" y="113"/>
                    <a:pt x="372" y="113"/>
                    <a:pt x="372" y="113"/>
                  </a:cubicBezTo>
                  <a:cubicBezTo>
                    <a:pt x="360" y="97"/>
                    <a:pt x="346" y="82"/>
                    <a:pt x="329" y="70"/>
                  </a:cubicBezTo>
                  <a:cubicBezTo>
                    <a:pt x="313" y="98"/>
                    <a:pt x="313" y="98"/>
                    <a:pt x="313" y="98"/>
                  </a:cubicBezTo>
                  <a:cubicBezTo>
                    <a:pt x="310" y="104"/>
                    <a:pt x="304" y="107"/>
                    <a:pt x="297" y="107"/>
                  </a:cubicBezTo>
                  <a:cubicBezTo>
                    <a:pt x="294" y="107"/>
                    <a:pt x="291" y="106"/>
                    <a:pt x="288" y="105"/>
                  </a:cubicBezTo>
                  <a:cubicBezTo>
                    <a:pt x="284" y="102"/>
                    <a:pt x="281" y="98"/>
                    <a:pt x="280" y="94"/>
                  </a:cubicBezTo>
                  <a:cubicBezTo>
                    <a:pt x="279" y="89"/>
                    <a:pt x="280" y="84"/>
                    <a:pt x="282" y="80"/>
                  </a:cubicBezTo>
                  <a:cubicBezTo>
                    <a:pt x="298" y="52"/>
                    <a:pt x="298" y="52"/>
                    <a:pt x="298" y="52"/>
                  </a:cubicBezTo>
                  <a:cubicBezTo>
                    <a:pt x="279" y="44"/>
                    <a:pt x="260" y="39"/>
                    <a:pt x="239" y="37"/>
                  </a:cubicBezTo>
                  <a:cubicBezTo>
                    <a:pt x="239" y="69"/>
                    <a:pt x="239" y="69"/>
                    <a:pt x="239" y="69"/>
                  </a:cubicBezTo>
                  <a:cubicBezTo>
                    <a:pt x="239" y="79"/>
                    <a:pt x="231" y="87"/>
                    <a:pt x="221" y="87"/>
                  </a:cubicBezTo>
                  <a:cubicBezTo>
                    <a:pt x="211" y="87"/>
                    <a:pt x="203" y="79"/>
                    <a:pt x="203" y="69"/>
                  </a:cubicBezTo>
                  <a:cubicBezTo>
                    <a:pt x="203" y="37"/>
                    <a:pt x="203" y="37"/>
                    <a:pt x="203" y="37"/>
                  </a:cubicBezTo>
                  <a:cubicBezTo>
                    <a:pt x="183" y="39"/>
                    <a:pt x="163" y="44"/>
                    <a:pt x="144" y="52"/>
                  </a:cubicBezTo>
                  <a:cubicBezTo>
                    <a:pt x="161" y="80"/>
                    <a:pt x="161" y="80"/>
                    <a:pt x="161" y="80"/>
                  </a:cubicBezTo>
                  <a:cubicBezTo>
                    <a:pt x="165" y="89"/>
                    <a:pt x="163" y="100"/>
                    <a:pt x="154" y="105"/>
                  </a:cubicBezTo>
                  <a:cubicBezTo>
                    <a:pt x="151" y="106"/>
                    <a:pt x="148" y="107"/>
                    <a:pt x="145" y="107"/>
                  </a:cubicBezTo>
                  <a:cubicBezTo>
                    <a:pt x="139" y="107"/>
                    <a:pt x="133" y="104"/>
                    <a:pt x="130" y="98"/>
                  </a:cubicBezTo>
                  <a:cubicBezTo>
                    <a:pt x="114" y="70"/>
                    <a:pt x="114" y="70"/>
                    <a:pt x="114" y="70"/>
                  </a:cubicBezTo>
                  <a:cubicBezTo>
                    <a:pt x="97" y="82"/>
                    <a:pt x="82" y="97"/>
                    <a:pt x="71" y="113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107" y="134"/>
                    <a:pt x="110" y="145"/>
                    <a:pt x="105" y="154"/>
                  </a:cubicBezTo>
                  <a:cubicBezTo>
                    <a:pt x="102" y="159"/>
                    <a:pt x="96" y="163"/>
                    <a:pt x="89" y="163"/>
                  </a:cubicBezTo>
                  <a:cubicBezTo>
                    <a:pt x="86" y="163"/>
                    <a:pt x="83" y="162"/>
                    <a:pt x="80" y="160"/>
                  </a:cubicBezTo>
                  <a:cubicBezTo>
                    <a:pt x="53" y="144"/>
                    <a:pt x="53" y="144"/>
                    <a:pt x="53" y="144"/>
                  </a:cubicBezTo>
                  <a:cubicBezTo>
                    <a:pt x="44" y="163"/>
                    <a:pt x="39" y="183"/>
                    <a:pt x="37" y="203"/>
                  </a:cubicBezTo>
                  <a:cubicBezTo>
                    <a:pt x="69" y="203"/>
                    <a:pt x="69" y="203"/>
                    <a:pt x="69" y="203"/>
                  </a:cubicBezTo>
                  <a:cubicBezTo>
                    <a:pt x="79" y="203"/>
                    <a:pt x="87" y="211"/>
                    <a:pt x="87" y="221"/>
                  </a:cubicBezTo>
                  <a:cubicBezTo>
                    <a:pt x="87" y="231"/>
                    <a:pt x="79" y="239"/>
                    <a:pt x="69" y="239"/>
                  </a:cubicBezTo>
                  <a:cubicBezTo>
                    <a:pt x="37" y="239"/>
                    <a:pt x="37" y="239"/>
                    <a:pt x="37" y="239"/>
                  </a:cubicBezTo>
                  <a:cubicBezTo>
                    <a:pt x="39" y="259"/>
                    <a:pt x="44" y="279"/>
                    <a:pt x="53" y="298"/>
                  </a:cubicBezTo>
                  <a:cubicBezTo>
                    <a:pt x="80" y="282"/>
                    <a:pt x="80" y="282"/>
                    <a:pt x="80" y="282"/>
                  </a:cubicBezTo>
                  <a:cubicBezTo>
                    <a:pt x="83" y="280"/>
                    <a:pt x="86" y="279"/>
                    <a:pt x="89" y="279"/>
                  </a:cubicBezTo>
                  <a:cubicBezTo>
                    <a:pt x="96" y="279"/>
                    <a:pt x="102" y="283"/>
                    <a:pt x="105" y="288"/>
                  </a:cubicBezTo>
                  <a:cubicBezTo>
                    <a:pt x="107" y="292"/>
                    <a:pt x="108" y="297"/>
                    <a:pt x="107" y="302"/>
                  </a:cubicBezTo>
                  <a:cubicBezTo>
                    <a:pt x="106" y="305"/>
                    <a:pt x="106" y="305"/>
                    <a:pt x="106" y="305"/>
                  </a:cubicBezTo>
                  <a:cubicBezTo>
                    <a:pt x="40" y="347"/>
                    <a:pt x="40" y="347"/>
                    <a:pt x="40" y="347"/>
                  </a:cubicBezTo>
                  <a:cubicBezTo>
                    <a:pt x="35" y="340"/>
                    <a:pt x="35" y="340"/>
                    <a:pt x="35" y="340"/>
                  </a:cubicBezTo>
                  <a:cubicBezTo>
                    <a:pt x="12" y="305"/>
                    <a:pt x="0" y="263"/>
                    <a:pt x="0" y="221"/>
                  </a:cubicBezTo>
                  <a:cubicBezTo>
                    <a:pt x="0" y="99"/>
                    <a:pt x="99" y="0"/>
                    <a:pt x="221" y="0"/>
                  </a:cubicBezTo>
                  <a:cubicBezTo>
                    <a:pt x="343" y="0"/>
                    <a:pt x="442" y="99"/>
                    <a:pt x="442" y="221"/>
                  </a:cubicBezTo>
                  <a:cubicBezTo>
                    <a:pt x="442" y="264"/>
                    <a:pt x="430" y="305"/>
                    <a:pt x="407" y="341"/>
                  </a:cubicBezTo>
                  <a:cubicBezTo>
                    <a:pt x="402" y="348"/>
                    <a:pt x="402" y="348"/>
                    <a:pt x="402" y="348"/>
                  </a:cubicBezTo>
                  <a:lnTo>
                    <a:pt x="337" y="30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auto">
            <a:xfrm>
              <a:off x="3612840" y="2173958"/>
              <a:ext cx="395288" cy="250825"/>
            </a:xfrm>
            <a:custGeom>
              <a:avLst/>
              <a:gdLst>
                <a:gd name="T0" fmla="*/ 28 w 151"/>
                <a:gd name="T1" fmla="*/ 96 h 96"/>
                <a:gd name="T2" fmla="*/ 0 w 151"/>
                <a:gd name="T3" fmla="*/ 68 h 96"/>
                <a:gd name="T4" fmla="*/ 28 w 151"/>
                <a:gd name="T5" fmla="*/ 40 h 96"/>
                <a:gd name="T6" fmla="*/ 34 w 151"/>
                <a:gd name="T7" fmla="*/ 41 h 96"/>
                <a:gd name="T8" fmla="*/ 133 w 151"/>
                <a:gd name="T9" fmla="*/ 0 h 96"/>
                <a:gd name="T10" fmla="*/ 148 w 151"/>
                <a:gd name="T11" fmla="*/ 9 h 96"/>
                <a:gd name="T12" fmla="*/ 151 w 151"/>
                <a:gd name="T13" fmla="*/ 15 h 96"/>
                <a:gd name="T14" fmla="*/ 149 w 151"/>
                <a:gd name="T15" fmla="*/ 22 h 96"/>
                <a:gd name="T16" fmla="*/ 53 w 151"/>
                <a:gd name="T17" fmla="*/ 80 h 96"/>
                <a:gd name="T18" fmla="*/ 28 w 151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1" h="96">
                  <a:moveTo>
                    <a:pt x="28" y="96"/>
                  </a:moveTo>
                  <a:cubicBezTo>
                    <a:pt x="13" y="96"/>
                    <a:pt x="0" y="83"/>
                    <a:pt x="0" y="68"/>
                  </a:cubicBezTo>
                  <a:cubicBezTo>
                    <a:pt x="0" y="52"/>
                    <a:pt x="13" y="40"/>
                    <a:pt x="28" y="40"/>
                  </a:cubicBezTo>
                  <a:cubicBezTo>
                    <a:pt x="30" y="40"/>
                    <a:pt x="32" y="40"/>
                    <a:pt x="34" y="41"/>
                  </a:cubicBezTo>
                  <a:cubicBezTo>
                    <a:pt x="121" y="0"/>
                    <a:pt x="129" y="0"/>
                    <a:pt x="133" y="0"/>
                  </a:cubicBezTo>
                  <a:cubicBezTo>
                    <a:pt x="140" y="0"/>
                    <a:pt x="146" y="4"/>
                    <a:pt x="148" y="9"/>
                  </a:cubicBezTo>
                  <a:cubicBezTo>
                    <a:pt x="151" y="15"/>
                    <a:pt x="151" y="15"/>
                    <a:pt x="151" y="15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47" y="29"/>
                    <a:pt x="146" y="34"/>
                    <a:pt x="53" y="80"/>
                  </a:cubicBezTo>
                  <a:cubicBezTo>
                    <a:pt x="48" y="90"/>
                    <a:pt x="39" y="96"/>
                    <a:pt x="28" y="96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3859392" y="2542217"/>
            <a:ext cx="1885962" cy="1885962"/>
            <a:chOff x="3836244" y="2574846"/>
            <a:chExt cx="1885962" cy="1885962"/>
          </a:xfrm>
        </p:grpSpPr>
        <p:sp>
          <p:nvSpPr>
            <p:cNvPr id="15" name="Rechteck 35"/>
            <p:cNvSpPr/>
            <p:nvPr/>
          </p:nvSpPr>
          <p:spPr>
            <a:xfrm>
              <a:off x="3836244" y="2574846"/>
              <a:ext cx="1885962" cy="188596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Freeform 22"/>
            <p:cNvSpPr>
              <a:spLocks noEditPoints="1"/>
            </p:cNvSpPr>
            <p:nvPr/>
          </p:nvSpPr>
          <p:spPr bwMode="auto">
            <a:xfrm>
              <a:off x="4410717" y="3030554"/>
              <a:ext cx="940245" cy="498362"/>
            </a:xfrm>
            <a:custGeom>
              <a:avLst/>
              <a:gdLst>
                <a:gd name="T0" fmla="*/ 340 w 344"/>
                <a:gd name="T1" fmla="*/ 77 h 181"/>
                <a:gd name="T2" fmla="*/ 318 w 344"/>
                <a:gd name="T3" fmla="*/ 53 h 181"/>
                <a:gd name="T4" fmla="*/ 185 w 344"/>
                <a:gd name="T5" fmla="*/ 0 h 181"/>
                <a:gd name="T6" fmla="*/ 63 w 344"/>
                <a:gd name="T7" fmla="*/ 42 h 181"/>
                <a:gd name="T8" fmla="*/ 3 w 344"/>
                <a:gd name="T9" fmla="*/ 84 h 181"/>
                <a:gd name="T10" fmla="*/ 0 w 344"/>
                <a:gd name="T11" fmla="*/ 91 h 181"/>
                <a:gd name="T12" fmla="*/ 3 w 344"/>
                <a:gd name="T13" fmla="*/ 98 h 181"/>
                <a:gd name="T14" fmla="*/ 63 w 344"/>
                <a:gd name="T15" fmla="*/ 139 h 181"/>
                <a:gd name="T16" fmla="*/ 185 w 344"/>
                <a:gd name="T17" fmla="*/ 181 h 181"/>
                <a:gd name="T18" fmla="*/ 295 w 344"/>
                <a:gd name="T19" fmla="*/ 146 h 181"/>
                <a:gd name="T20" fmla="*/ 329 w 344"/>
                <a:gd name="T21" fmla="*/ 117 h 181"/>
                <a:gd name="T22" fmla="*/ 340 w 344"/>
                <a:gd name="T23" fmla="*/ 104 h 181"/>
                <a:gd name="T24" fmla="*/ 344 w 344"/>
                <a:gd name="T25" fmla="*/ 91 h 181"/>
                <a:gd name="T26" fmla="*/ 340 w 344"/>
                <a:gd name="T27" fmla="*/ 77 h 181"/>
                <a:gd name="T28" fmla="*/ 72 w 344"/>
                <a:gd name="T29" fmla="*/ 123 h 181"/>
                <a:gd name="T30" fmla="*/ 31 w 344"/>
                <a:gd name="T31" fmla="*/ 96 h 181"/>
                <a:gd name="T32" fmla="*/ 24 w 344"/>
                <a:gd name="T33" fmla="*/ 91 h 181"/>
                <a:gd name="T34" fmla="*/ 79 w 344"/>
                <a:gd name="T35" fmla="*/ 54 h 181"/>
                <a:gd name="T36" fmla="*/ 102 w 344"/>
                <a:gd name="T37" fmla="*/ 42 h 181"/>
                <a:gd name="T38" fmla="*/ 88 w 344"/>
                <a:gd name="T39" fmla="*/ 93 h 181"/>
                <a:gd name="T40" fmla="*/ 98 w 344"/>
                <a:gd name="T41" fmla="*/ 137 h 181"/>
                <a:gd name="T42" fmla="*/ 72 w 344"/>
                <a:gd name="T43" fmla="*/ 123 h 181"/>
                <a:gd name="T44" fmla="*/ 261 w 344"/>
                <a:gd name="T45" fmla="*/ 144 h 181"/>
                <a:gd name="T46" fmla="*/ 258 w 344"/>
                <a:gd name="T47" fmla="*/ 145 h 181"/>
                <a:gd name="T48" fmla="*/ 185 w 344"/>
                <a:gd name="T49" fmla="*/ 163 h 181"/>
                <a:gd name="T50" fmla="*/ 115 w 344"/>
                <a:gd name="T51" fmla="*/ 145 h 181"/>
                <a:gd name="T52" fmla="*/ 98 w 344"/>
                <a:gd name="T53" fmla="*/ 93 h 181"/>
                <a:gd name="T54" fmla="*/ 122 w 344"/>
                <a:gd name="T55" fmla="*/ 33 h 181"/>
                <a:gd name="T56" fmla="*/ 185 w 344"/>
                <a:gd name="T57" fmla="*/ 19 h 181"/>
                <a:gd name="T58" fmla="*/ 255 w 344"/>
                <a:gd name="T59" fmla="*/ 34 h 181"/>
                <a:gd name="T60" fmla="*/ 277 w 344"/>
                <a:gd name="T61" fmla="*/ 93 h 181"/>
                <a:gd name="T62" fmla="*/ 261 w 344"/>
                <a:gd name="T63" fmla="*/ 144 h 181"/>
                <a:gd name="T64" fmla="*/ 326 w 344"/>
                <a:gd name="T65" fmla="*/ 92 h 181"/>
                <a:gd name="T66" fmla="*/ 310 w 344"/>
                <a:gd name="T67" fmla="*/ 110 h 181"/>
                <a:gd name="T68" fmla="*/ 279 w 344"/>
                <a:gd name="T69" fmla="*/ 134 h 181"/>
                <a:gd name="T70" fmla="*/ 287 w 344"/>
                <a:gd name="T71" fmla="*/ 93 h 181"/>
                <a:gd name="T72" fmla="*/ 275 w 344"/>
                <a:gd name="T73" fmla="*/ 45 h 181"/>
                <a:gd name="T74" fmla="*/ 285 w 344"/>
                <a:gd name="T75" fmla="*/ 51 h 181"/>
                <a:gd name="T76" fmla="*/ 316 w 344"/>
                <a:gd name="T77" fmla="*/ 77 h 181"/>
                <a:gd name="T78" fmla="*/ 324 w 344"/>
                <a:gd name="T79" fmla="*/ 87 h 181"/>
                <a:gd name="T80" fmla="*/ 326 w 344"/>
                <a:gd name="T81" fmla="*/ 90 h 181"/>
                <a:gd name="T82" fmla="*/ 326 w 344"/>
                <a:gd name="T83" fmla="*/ 91 h 181"/>
                <a:gd name="T84" fmla="*/ 326 w 344"/>
                <a:gd name="T85" fmla="*/ 92 h 181"/>
                <a:gd name="T86" fmla="*/ 188 w 344"/>
                <a:gd name="T87" fmla="*/ 44 h 181"/>
                <a:gd name="T88" fmla="*/ 169 w 344"/>
                <a:gd name="T89" fmla="*/ 47 h 181"/>
                <a:gd name="T90" fmla="*/ 178 w 344"/>
                <a:gd name="T91" fmla="*/ 62 h 181"/>
                <a:gd name="T92" fmla="*/ 173 w 344"/>
                <a:gd name="T93" fmla="*/ 74 h 181"/>
                <a:gd name="T94" fmla="*/ 173 w 344"/>
                <a:gd name="T95" fmla="*/ 74 h 181"/>
                <a:gd name="T96" fmla="*/ 173 w 344"/>
                <a:gd name="T97" fmla="*/ 74 h 181"/>
                <a:gd name="T98" fmla="*/ 162 w 344"/>
                <a:gd name="T99" fmla="*/ 78 h 181"/>
                <a:gd name="T100" fmla="*/ 146 w 344"/>
                <a:gd name="T101" fmla="*/ 66 h 181"/>
                <a:gd name="T102" fmla="*/ 138 w 344"/>
                <a:gd name="T103" fmla="*/ 93 h 181"/>
                <a:gd name="T104" fmla="*/ 188 w 344"/>
                <a:gd name="T105" fmla="*/ 143 h 181"/>
                <a:gd name="T106" fmla="*/ 237 w 344"/>
                <a:gd name="T107" fmla="*/ 93 h 181"/>
                <a:gd name="T108" fmla="*/ 188 w 344"/>
                <a:gd name="T109" fmla="*/ 4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44" h="181">
                  <a:moveTo>
                    <a:pt x="340" y="77"/>
                  </a:moveTo>
                  <a:cubicBezTo>
                    <a:pt x="335" y="70"/>
                    <a:pt x="328" y="62"/>
                    <a:pt x="318" y="53"/>
                  </a:cubicBezTo>
                  <a:cubicBezTo>
                    <a:pt x="290" y="29"/>
                    <a:pt x="240" y="0"/>
                    <a:pt x="185" y="0"/>
                  </a:cubicBezTo>
                  <a:cubicBezTo>
                    <a:pt x="143" y="0"/>
                    <a:pt x="98" y="22"/>
                    <a:pt x="63" y="42"/>
                  </a:cubicBezTo>
                  <a:cubicBezTo>
                    <a:pt x="28" y="63"/>
                    <a:pt x="3" y="83"/>
                    <a:pt x="3" y="84"/>
                  </a:cubicBezTo>
                  <a:cubicBezTo>
                    <a:pt x="1" y="85"/>
                    <a:pt x="0" y="88"/>
                    <a:pt x="0" y="91"/>
                  </a:cubicBezTo>
                  <a:cubicBezTo>
                    <a:pt x="0" y="93"/>
                    <a:pt x="1" y="96"/>
                    <a:pt x="3" y="98"/>
                  </a:cubicBezTo>
                  <a:cubicBezTo>
                    <a:pt x="3" y="98"/>
                    <a:pt x="28" y="118"/>
                    <a:pt x="63" y="139"/>
                  </a:cubicBezTo>
                  <a:cubicBezTo>
                    <a:pt x="98" y="160"/>
                    <a:pt x="143" y="181"/>
                    <a:pt x="185" y="181"/>
                  </a:cubicBezTo>
                  <a:cubicBezTo>
                    <a:pt x="227" y="181"/>
                    <a:pt x="266" y="164"/>
                    <a:pt x="295" y="146"/>
                  </a:cubicBezTo>
                  <a:cubicBezTo>
                    <a:pt x="309" y="136"/>
                    <a:pt x="321" y="126"/>
                    <a:pt x="329" y="117"/>
                  </a:cubicBezTo>
                  <a:cubicBezTo>
                    <a:pt x="334" y="113"/>
                    <a:pt x="337" y="108"/>
                    <a:pt x="340" y="104"/>
                  </a:cubicBezTo>
                  <a:cubicBezTo>
                    <a:pt x="342" y="100"/>
                    <a:pt x="344" y="96"/>
                    <a:pt x="344" y="91"/>
                  </a:cubicBezTo>
                  <a:cubicBezTo>
                    <a:pt x="344" y="85"/>
                    <a:pt x="342" y="81"/>
                    <a:pt x="340" y="77"/>
                  </a:cubicBezTo>
                  <a:close/>
                  <a:moveTo>
                    <a:pt x="72" y="123"/>
                  </a:moveTo>
                  <a:cubicBezTo>
                    <a:pt x="56" y="113"/>
                    <a:pt x="41" y="103"/>
                    <a:pt x="31" y="96"/>
                  </a:cubicBezTo>
                  <a:cubicBezTo>
                    <a:pt x="28" y="94"/>
                    <a:pt x="26" y="92"/>
                    <a:pt x="24" y="91"/>
                  </a:cubicBezTo>
                  <a:cubicBezTo>
                    <a:pt x="35" y="82"/>
                    <a:pt x="55" y="68"/>
                    <a:pt x="79" y="54"/>
                  </a:cubicBezTo>
                  <a:cubicBezTo>
                    <a:pt x="86" y="50"/>
                    <a:pt x="94" y="46"/>
                    <a:pt x="102" y="42"/>
                  </a:cubicBezTo>
                  <a:cubicBezTo>
                    <a:pt x="93" y="57"/>
                    <a:pt x="88" y="75"/>
                    <a:pt x="88" y="93"/>
                  </a:cubicBezTo>
                  <a:cubicBezTo>
                    <a:pt x="88" y="109"/>
                    <a:pt x="92" y="124"/>
                    <a:pt x="98" y="137"/>
                  </a:cubicBezTo>
                  <a:cubicBezTo>
                    <a:pt x="89" y="133"/>
                    <a:pt x="81" y="128"/>
                    <a:pt x="72" y="123"/>
                  </a:cubicBezTo>
                  <a:close/>
                  <a:moveTo>
                    <a:pt x="261" y="144"/>
                  </a:moveTo>
                  <a:cubicBezTo>
                    <a:pt x="260" y="144"/>
                    <a:pt x="259" y="145"/>
                    <a:pt x="258" y="145"/>
                  </a:cubicBezTo>
                  <a:cubicBezTo>
                    <a:pt x="236" y="156"/>
                    <a:pt x="211" y="163"/>
                    <a:pt x="185" y="163"/>
                  </a:cubicBezTo>
                  <a:cubicBezTo>
                    <a:pt x="164" y="163"/>
                    <a:pt x="139" y="156"/>
                    <a:pt x="115" y="145"/>
                  </a:cubicBezTo>
                  <a:cubicBezTo>
                    <a:pt x="105" y="131"/>
                    <a:pt x="98" y="113"/>
                    <a:pt x="98" y="93"/>
                  </a:cubicBezTo>
                  <a:cubicBezTo>
                    <a:pt x="98" y="70"/>
                    <a:pt x="107" y="49"/>
                    <a:pt x="122" y="33"/>
                  </a:cubicBezTo>
                  <a:cubicBezTo>
                    <a:pt x="143" y="24"/>
                    <a:pt x="166" y="18"/>
                    <a:pt x="185" y="19"/>
                  </a:cubicBezTo>
                  <a:cubicBezTo>
                    <a:pt x="210" y="19"/>
                    <a:pt x="233" y="25"/>
                    <a:pt x="255" y="34"/>
                  </a:cubicBezTo>
                  <a:cubicBezTo>
                    <a:pt x="268" y="50"/>
                    <a:pt x="277" y="71"/>
                    <a:pt x="277" y="93"/>
                  </a:cubicBezTo>
                  <a:cubicBezTo>
                    <a:pt x="277" y="112"/>
                    <a:pt x="271" y="129"/>
                    <a:pt x="261" y="144"/>
                  </a:cubicBezTo>
                  <a:close/>
                  <a:moveTo>
                    <a:pt x="326" y="92"/>
                  </a:moveTo>
                  <a:cubicBezTo>
                    <a:pt x="324" y="95"/>
                    <a:pt x="319" y="103"/>
                    <a:pt x="310" y="110"/>
                  </a:cubicBezTo>
                  <a:cubicBezTo>
                    <a:pt x="302" y="118"/>
                    <a:pt x="291" y="126"/>
                    <a:pt x="279" y="134"/>
                  </a:cubicBezTo>
                  <a:cubicBezTo>
                    <a:pt x="284" y="122"/>
                    <a:pt x="287" y="108"/>
                    <a:pt x="287" y="93"/>
                  </a:cubicBezTo>
                  <a:cubicBezTo>
                    <a:pt x="287" y="76"/>
                    <a:pt x="283" y="59"/>
                    <a:pt x="275" y="45"/>
                  </a:cubicBezTo>
                  <a:cubicBezTo>
                    <a:pt x="278" y="47"/>
                    <a:pt x="281" y="49"/>
                    <a:pt x="285" y="51"/>
                  </a:cubicBezTo>
                  <a:cubicBezTo>
                    <a:pt x="298" y="60"/>
                    <a:pt x="309" y="69"/>
                    <a:pt x="316" y="77"/>
                  </a:cubicBezTo>
                  <a:cubicBezTo>
                    <a:pt x="320" y="80"/>
                    <a:pt x="323" y="84"/>
                    <a:pt x="324" y="87"/>
                  </a:cubicBezTo>
                  <a:cubicBezTo>
                    <a:pt x="325" y="88"/>
                    <a:pt x="326" y="89"/>
                    <a:pt x="326" y="90"/>
                  </a:cubicBezTo>
                  <a:cubicBezTo>
                    <a:pt x="326" y="90"/>
                    <a:pt x="326" y="90"/>
                    <a:pt x="326" y="91"/>
                  </a:cubicBezTo>
                  <a:cubicBezTo>
                    <a:pt x="326" y="91"/>
                    <a:pt x="326" y="91"/>
                    <a:pt x="326" y="92"/>
                  </a:cubicBezTo>
                  <a:close/>
                  <a:moveTo>
                    <a:pt x="188" y="44"/>
                  </a:moveTo>
                  <a:cubicBezTo>
                    <a:pt x="181" y="44"/>
                    <a:pt x="175" y="45"/>
                    <a:pt x="169" y="47"/>
                  </a:cubicBezTo>
                  <a:cubicBezTo>
                    <a:pt x="174" y="50"/>
                    <a:pt x="178" y="55"/>
                    <a:pt x="178" y="62"/>
                  </a:cubicBezTo>
                  <a:cubicBezTo>
                    <a:pt x="178" y="67"/>
                    <a:pt x="176" y="71"/>
                    <a:pt x="173" y="74"/>
                  </a:cubicBezTo>
                  <a:cubicBezTo>
                    <a:pt x="173" y="74"/>
                    <a:pt x="173" y="74"/>
                    <a:pt x="173" y="74"/>
                  </a:cubicBezTo>
                  <a:cubicBezTo>
                    <a:pt x="173" y="74"/>
                    <a:pt x="173" y="74"/>
                    <a:pt x="173" y="74"/>
                  </a:cubicBezTo>
                  <a:cubicBezTo>
                    <a:pt x="170" y="76"/>
                    <a:pt x="166" y="78"/>
                    <a:pt x="162" y="78"/>
                  </a:cubicBezTo>
                  <a:cubicBezTo>
                    <a:pt x="154" y="78"/>
                    <a:pt x="148" y="73"/>
                    <a:pt x="146" y="66"/>
                  </a:cubicBezTo>
                  <a:cubicBezTo>
                    <a:pt x="141" y="74"/>
                    <a:pt x="138" y="83"/>
                    <a:pt x="138" y="93"/>
                  </a:cubicBezTo>
                  <a:cubicBezTo>
                    <a:pt x="138" y="121"/>
                    <a:pt x="160" y="143"/>
                    <a:pt x="188" y="143"/>
                  </a:cubicBezTo>
                  <a:cubicBezTo>
                    <a:pt x="215" y="143"/>
                    <a:pt x="237" y="121"/>
                    <a:pt x="237" y="93"/>
                  </a:cubicBezTo>
                  <a:cubicBezTo>
                    <a:pt x="237" y="66"/>
                    <a:pt x="215" y="44"/>
                    <a:pt x="188" y="4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"/>
            <p:cNvSpPr>
              <a:spLocks noEditPoints="1"/>
            </p:cNvSpPr>
            <p:nvPr/>
          </p:nvSpPr>
          <p:spPr bwMode="auto">
            <a:xfrm>
              <a:off x="4115861" y="2981135"/>
              <a:ext cx="1136155" cy="1136155"/>
            </a:xfrm>
            <a:custGeom>
              <a:avLst/>
              <a:gdLst>
                <a:gd name="T0" fmla="*/ 640 w 649"/>
                <a:gd name="T1" fmla="*/ 554 h 649"/>
                <a:gd name="T2" fmla="*/ 474 w 649"/>
                <a:gd name="T3" fmla="*/ 387 h 649"/>
                <a:gd name="T4" fmla="*/ 466 w 649"/>
                <a:gd name="T5" fmla="*/ 382 h 649"/>
                <a:gd name="T6" fmla="*/ 430 w 649"/>
                <a:gd name="T7" fmla="*/ 93 h 649"/>
                <a:gd name="T8" fmla="*/ 93 w 649"/>
                <a:gd name="T9" fmla="*/ 93 h 649"/>
                <a:gd name="T10" fmla="*/ 93 w 649"/>
                <a:gd name="T11" fmla="*/ 429 h 649"/>
                <a:gd name="T12" fmla="*/ 383 w 649"/>
                <a:gd name="T13" fmla="*/ 466 h 649"/>
                <a:gd name="T14" fmla="*/ 388 w 649"/>
                <a:gd name="T15" fmla="*/ 473 h 649"/>
                <a:gd name="T16" fmla="*/ 554 w 649"/>
                <a:gd name="T17" fmla="*/ 640 h 649"/>
                <a:gd name="T18" fmla="*/ 588 w 649"/>
                <a:gd name="T19" fmla="*/ 640 h 649"/>
                <a:gd name="T20" fmla="*/ 640 w 649"/>
                <a:gd name="T21" fmla="*/ 588 h 649"/>
                <a:gd name="T22" fmla="*/ 640 w 649"/>
                <a:gd name="T23" fmla="*/ 554 h 649"/>
                <a:gd name="T24" fmla="*/ 131 w 649"/>
                <a:gd name="T25" fmla="*/ 392 h 649"/>
                <a:gd name="T26" fmla="*/ 131 w 649"/>
                <a:gd name="T27" fmla="*/ 130 h 649"/>
                <a:gd name="T28" fmla="*/ 392 w 649"/>
                <a:gd name="T29" fmla="*/ 130 h 649"/>
                <a:gd name="T30" fmla="*/ 392 w 649"/>
                <a:gd name="T31" fmla="*/ 392 h 649"/>
                <a:gd name="T32" fmla="*/ 131 w 649"/>
                <a:gd name="T33" fmla="*/ 392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9" h="649">
                  <a:moveTo>
                    <a:pt x="640" y="554"/>
                  </a:moveTo>
                  <a:cubicBezTo>
                    <a:pt x="474" y="387"/>
                    <a:pt x="474" y="387"/>
                    <a:pt x="474" y="387"/>
                  </a:cubicBezTo>
                  <a:cubicBezTo>
                    <a:pt x="472" y="385"/>
                    <a:pt x="469" y="384"/>
                    <a:pt x="466" y="382"/>
                  </a:cubicBezTo>
                  <a:cubicBezTo>
                    <a:pt x="520" y="291"/>
                    <a:pt x="508" y="171"/>
                    <a:pt x="430" y="93"/>
                  </a:cubicBezTo>
                  <a:cubicBezTo>
                    <a:pt x="337" y="0"/>
                    <a:pt x="186" y="0"/>
                    <a:pt x="93" y="93"/>
                  </a:cubicBezTo>
                  <a:cubicBezTo>
                    <a:pt x="0" y="186"/>
                    <a:pt x="0" y="336"/>
                    <a:pt x="93" y="429"/>
                  </a:cubicBezTo>
                  <a:cubicBezTo>
                    <a:pt x="172" y="508"/>
                    <a:pt x="291" y="520"/>
                    <a:pt x="383" y="466"/>
                  </a:cubicBezTo>
                  <a:cubicBezTo>
                    <a:pt x="384" y="469"/>
                    <a:pt x="386" y="471"/>
                    <a:pt x="388" y="473"/>
                  </a:cubicBezTo>
                  <a:cubicBezTo>
                    <a:pt x="554" y="640"/>
                    <a:pt x="554" y="640"/>
                    <a:pt x="554" y="640"/>
                  </a:cubicBezTo>
                  <a:cubicBezTo>
                    <a:pt x="563" y="649"/>
                    <a:pt x="579" y="649"/>
                    <a:pt x="588" y="640"/>
                  </a:cubicBezTo>
                  <a:cubicBezTo>
                    <a:pt x="640" y="588"/>
                    <a:pt x="640" y="588"/>
                    <a:pt x="640" y="588"/>
                  </a:cubicBezTo>
                  <a:cubicBezTo>
                    <a:pt x="649" y="578"/>
                    <a:pt x="649" y="563"/>
                    <a:pt x="640" y="554"/>
                  </a:cubicBezTo>
                  <a:close/>
                  <a:moveTo>
                    <a:pt x="131" y="392"/>
                  </a:moveTo>
                  <a:cubicBezTo>
                    <a:pt x="58" y="319"/>
                    <a:pt x="58" y="202"/>
                    <a:pt x="131" y="130"/>
                  </a:cubicBezTo>
                  <a:cubicBezTo>
                    <a:pt x="203" y="58"/>
                    <a:pt x="320" y="58"/>
                    <a:pt x="392" y="130"/>
                  </a:cubicBezTo>
                  <a:cubicBezTo>
                    <a:pt x="464" y="202"/>
                    <a:pt x="464" y="319"/>
                    <a:pt x="392" y="392"/>
                  </a:cubicBezTo>
                  <a:cubicBezTo>
                    <a:pt x="320" y="464"/>
                    <a:pt x="203" y="464"/>
                    <a:pt x="131" y="39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" name="Group 100"/>
          <p:cNvGrpSpPr/>
          <p:nvPr/>
        </p:nvGrpSpPr>
        <p:grpSpPr>
          <a:xfrm>
            <a:off x="2765011" y="3284731"/>
            <a:ext cx="1307578" cy="1249169"/>
            <a:chOff x="1093195" y="1347614"/>
            <a:chExt cx="1124964" cy="1074712"/>
          </a:xfrm>
        </p:grpSpPr>
        <p:sp>
          <p:nvSpPr>
            <p:cNvPr id="13" name="Oval 12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bg1">
                <a:lumMod val="50000"/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93195" y="1706042"/>
              <a:ext cx="1124964" cy="35785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uality</a:t>
              </a:r>
              <a:b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f graphic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5685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000"/>
                                            <p:tgtEl>
                                              <p:spTgt spid="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42" presetClass="path" presetSubtype="0" fill="hold" nodeType="withEffect" p14:presetBounceEnd="16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22222E-6 -1.11111E-6 L -0.12587 0.15 " pathEditMode="relative" rAng="0" ptsTypes="AA" p14:bounceEnd="16000">
                                          <p:cBhvr>
                                            <p:cTn id="11" dur="1250" spd="-100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6302" y="750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" presetID="55" presetClass="entr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4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6" dur="7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7" presetID="42" presetClass="path" presetSubtype="0" fill="hold" nodeType="withEffect" p14:presetBounceEnd="26667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2.77778E-6 4.93827E-6 L -0.06684 -0.05463 " pathEditMode="relative" rAng="0" ptsTypes="AA" p14:bounceEnd="26667">
                                          <p:cBhvr>
                                            <p:cTn id="18" dur="750" spd="-100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3351" y="-2747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0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10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10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10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42" presetClass="path" presetSubtype="0" fill="hold" nodeType="withEffect" p14:presetBounceEnd="16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2.77778E-7 2.59259E-6 L 0.04913 0.37253 " pathEditMode="relative" rAng="0" ptsTypes="AA" p14:bounceEnd="16000">
                                          <p:cBhvr>
                                            <p:cTn id="26" dur="1250" spd="-1000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2448" y="18611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7" presetID="55" presetClass="entr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75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42" presetClass="path" presetSubtype="0" fill="hold" nodeType="withEffect" p14:presetBounceEnd="26667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-2.77778E-7 -7.40741E-7 L 0.11059 -0.08827 " pathEditMode="relative" rAng="0" ptsTypes="AA" p14:bounceEnd="26667">
                                          <p:cBhvr>
                                            <p:cTn id="33" dur="750" spd="-100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5521" y="-441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5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7" dur="10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8" dur="10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9" dur="10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42" presetClass="path" presetSubtype="0" fill="hold" nodeType="withEffect" p14:presetBounceEnd="16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3.61111E-6 8.64198E-7 L 0.16476 -0.09105 " pathEditMode="relative" rAng="0" ptsTypes="AA" p14:bounceEnd="16000">
                                          <p:cBhvr>
                                            <p:cTn id="41" dur="1250" spd="-1000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229" y="-4568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42" presetID="55" presetClass="entr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4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6" dur="75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7" presetID="42" presetClass="path" presetSubtype="0" fill="hold" nodeType="withEffect" p14:presetBounceEnd="26667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-4.72222E-6 3.45679E-6 L -0.14704 0.10092 " pathEditMode="relative" rAng="0" ptsTypes="AA" p14:bounceEnd="26667">
                                          <p:cBhvr>
                                            <p:cTn id="48" dur="750" spd="-100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7361" y="5031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9" fill="hold">
                                <p:stCondLst>
                                  <p:cond delay="3750"/>
                                </p:stCondLst>
                                <p:childTnLst>
                                  <p:par>
                                    <p:cTn id="50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2" dur="1000" fill="hold"/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3" dur="1000" fill="hold"/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4" dur="1000"/>
                                            <p:tgtEl>
                                              <p:spTgt spid="8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5" presetID="42" presetClass="path" presetSubtype="0" fill="hold" nodeType="withEffect" p14:presetBounceEnd="16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2.5E-6 -3.45679E-6 L -0.02916 -0.38055 " pathEditMode="relative" rAng="0" ptsTypes="AA" p14:bounceEnd="16000">
                                          <p:cBhvr>
                                            <p:cTn id="56" dur="1250" spd="-100000" fill="hold"/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458" y="-1904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57" presetID="55" presetClass="entr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9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0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1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42" presetClass="path" presetSubtype="0" fill="hold" nodeType="withEffect" p14:presetBounceEnd="26667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4.44444E-6 -2.22222E-6 L 0.11684 0.20741 " pathEditMode="relative" rAng="0" ptsTypes="AA" p14:bounceEnd="26667">
                                          <p:cBhvr>
                                            <p:cTn id="63" dur="750" spd="-100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5833" y="1037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1000"/>
                                            <p:tgtEl>
                                              <p:spTgt spid="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42" presetClass="pat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22222E-6 -1.11111E-6 L -0.12587 0.15 " pathEditMode="relative" rAng="0" ptsTypes="AA">
                                          <p:cBhvr>
                                            <p:cTn id="11" dur="1250" spd="-100000" fill="hold"/>
                                            <p:tgtEl>
                                              <p:spTgt spid="8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6302" y="750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2" presetID="55" presetClass="entr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4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" dur="7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6" dur="7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7" presetID="42" presetClass="path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2.77778E-6 4.93827E-6 L -0.06684 -0.05463 " pathEditMode="relative" rAng="0" ptsTypes="AA">
                                          <p:cBhvr>
                                            <p:cTn id="18" dur="750" spd="-100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3351" y="-2747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0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10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10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10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42" presetClass="pat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2.77778E-7 2.59259E-6 L 0.04913 0.37253 " pathEditMode="relative" rAng="0" ptsTypes="AA">
                                          <p:cBhvr>
                                            <p:cTn id="26" dur="1250" spd="-1000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2448" y="18611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7" presetID="55" presetClass="entr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9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0" dur="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1" dur="75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42" presetClass="path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-2.77778E-7 -7.40741E-7 L 0.11059 -0.08827 " pathEditMode="relative" rAng="0" ptsTypes="AA">
                                          <p:cBhvr>
                                            <p:cTn id="33" dur="750" spd="-100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5521" y="-441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5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7" dur="10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8" dur="10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9" dur="10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42" presetClass="pat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3.61111E-6 8.64198E-7 L 0.16476 -0.09105 " pathEditMode="relative" rAng="0" ptsTypes="AA">
                                          <p:cBhvr>
                                            <p:cTn id="41" dur="1250" spd="-1000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229" y="-4568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42" presetID="55" presetClass="entr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4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6" dur="75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7" presetID="42" presetClass="path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-4.72222E-6 3.45679E-6 L -0.14704 0.10092 " pathEditMode="relative" rAng="0" ptsTypes="AA">
                                          <p:cBhvr>
                                            <p:cTn id="48" dur="750" spd="-100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7361" y="5031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9" fill="hold">
                                <p:stCondLst>
                                  <p:cond delay="3750"/>
                                </p:stCondLst>
                                <p:childTnLst>
                                  <p:par>
                                    <p:cTn id="50" presetID="55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2" dur="1000" fill="hold"/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3" dur="1000" fill="hold"/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4" dur="1000"/>
                                            <p:tgtEl>
                                              <p:spTgt spid="8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5" presetID="42" presetClass="pat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2.5E-6 -3.45679E-6 L -0.02916 -0.38055 " pathEditMode="relative" rAng="0" ptsTypes="AA">
                                          <p:cBhvr>
                                            <p:cTn id="56" dur="1250" spd="-100000" fill="hold"/>
                                            <p:tgtEl>
                                              <p:spTgt spid="82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458" y="-1904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57" presetID="55" presetClass="entr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9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0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1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42" presetClass="path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4.44444E-6 -2.22222E-6 L 0.11684 0.20741 " pathEditMode="relative" rAng="0" ptsTypes="AA">
                                          <p:cBhvr>
                                            <p:cTn id="63" dur="750" spd="-1000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5833" y="1037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Your choices</a:t>
            </a: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>
            <a:off x="4329583" y="1763631"/>
            <a:ext cx="2134718" cy="960312"/>
          </a:xfrm>
          <a:custGeom>
            <a:avLst/>
            <a:gdLst>
              <a:gd name="T0" fmla="*/ 40 w 840"/>
              <a:gd name="T1" fmla="*/ 376 h 376"/>
              <a:gd name="T2" fmla="*/ 0 w 840"/>
              <a:gd name="T3" fmla="*/ 336 h 376"/>
              <a:gd name="T4" fmla="*/ 0 w 840"/>
              <a:gd name="T5" fmla="*/ 40 h 376"/>
              <a:gd name="T6" fmla="*/ 40 w 840"/>
              <a:gd name="T7" fmla="*/ 0 h 376"/>
              <a:gd name="T8" fmla="*/ 642 w 840"/>
              <a:gd name="T9" fmla="*/ 0 h 376"/>
              <a:gd name="T10" fmla="*/ 669 w 840"/>
              <a:gd name="T11" fmla="*/ 10 h 376"/>
              <a:gd name="T12" fmla="*/ 827 w 840"/>
              <a:gd name="T13" fmla="*/ 159 h 376"/>
              <a:gd name="T14" fmla="*/ 840 w 840"/>
              <a:gd name="T15" fmla="*/ 188 h 376"/>
              <a:gd name="T16" fmla="*/ 827 w 840"/>
              <a:gd name="T17" fmla="*/ 217 h 376"/>
              <a:gd name="T18" fmla="*/ 669 w 840"/>
              <a:gd name="T19" fmla="*/ 366 h 376"/>
              <a:gd name="T20" fmla="*/ 642 w 840"/>
              <a:gd name="T21" fmla="*/ 376 h 376"/>
              <a:gd name="T22" fmla="*/ 40 w 840"/>
              <a:gd name="T23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40" h="376">
                <a:moveTo>
                  <a:pt x="40" y="376"/>
                </a:moveTo>
                <a:cubicBezTo>
                  <a:pt x="18" y="376"/>
                  <a:pt x="0" y="359"/>
                  <a:pt x="0" y="33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17"/>
                  <a:pt x="18" y="0"/>
                  <a:pt x="40" y="0"/>
                </a:cubicBezTo>
                <a:cubicBezTo>
                  <a:pt x="642" y="0"/>
                  <a:pt x="642" y="0"/>
                  <a:pt x="642" y="0"/>
                </a:cubicBezTo>
                <a:cubicBezTo>
                  <a:pt x="652" y="0"/>
                  <a:pt x="662" y="3"/>
                  <a:pt x="669" y="10"/>
                </a:cubicBezTo>
                <a:cubicBezTo>
                  <a:pt x="827" y="159"/>
                  <a:pt x="827" y="159"/>
                  <a:pt x="827" y="159"/>
                </a:cubicBezTo>
                <a:cubicBezTo>
                  <a:pt x="835" y="166"/>
                  <a:pt x="840" y="177"/>
                  <a:pt x="840" y="188"/>
                </a:cubicBezTo>
                <a:cubicBezTo>
                  <a:pt x="840" y="199"/>
                  <a:pt x="835" y="210"/>
                  <a:pt x="827" y="217"/>
                </a:cubicBezTo>
                <a:cubicBezTo>
                  <a:pt x="669" y="366"/>
                  <a:pt x="669" y="366"/>
                  <a:pt x="669" y="366"/>
                </a:cubicBezTo>
                <a:cubicBezTo>
                  <a:pt x="662" y="373"/>
                  <a:pt x="652" y="376"/>
                  <a:pt x="642" y="376"/>
                </a:cubicBezTo>
                <a:lnTo>
                  <a:pt x="40" y="376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alpha val="49000"/>
                </a:schemeClr>
              </a:gs>
              <a:gs pos="100000">
                <a:schemeClr val="tx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 dirty="0">
                <a:solidFill>
                  <a:schemeClr val="accent1"/>
                </a:solidFill>
              </a:rPr>
              <a:t>Offset</a:t>
            </a:r>
            <a:br>
              <a:rPr lang="en-GB" b="1" dirty="0">
                <a:solidFill>
                  <a:schemeClr val="accent1"/>
                </a:solidFill>
              </a:rPr>
            </a:br>
            <a:r>
              <a:rPr lang="en-GB" b="1" dirty="0">
                <a:solidFill>
                  <a:schemeClr val="accent1"/>
                </a:solidFill>
              </a:rPr>
              <a:t>options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 flipH="1">
            <a:off x="2797976" y="2759360"/>
            <a:ext cx="2134716" cy="960312"/>
          </a:xfrm>
          <a:custGeom>
            <a:avLst/>
            <a:gdLst>
              <a:gd name="T0" fmla="*/ 40 w 840"/>
              <a:gd name="T1" fmla="*/ 376 h 376"/>
              <a:gd name="T2" fmla="*/ 0 w 840"/>
              <a:gd name="T3" fmla="*/ 336 h 376"/>
              <a:gd name="T4" fmla="*/ 0 w 840"/>
              <a:gd name="T5" fmla="*/ 40 h 376"/>
              <a:gd name="T6" fmla="*/ 40 w 840"/>
              <a:gd name="T7" fmla="*/ 0 h 376"/>
              <a:gd name="T8" fmla="*/ 642 w 840"/>
              <a:gd name="T9" fmla="*/ 0 h 376"/>
              <a:gd name="T10" fmla="*/ 669 w 840"/>
              <a:gd name="T11" fmla="*/ 10 h 376"/>
              <a:gd name="T12" fmla="*/ 827 w 840"/>
              <a:gd name="T13" fmla="*/ 159 h 376"/>
              <a:gd name="T14" fmla="*/ 840 w 840"/>
              <a:gd name="T15" fmla="*/ 188 h 376"/>
              <a:gd name="T16" fmla="*/ 827 w 840"/>
              <a:gd name="T17" fmla="*/ 217 h 376"/>
              <a:gd name="T18" fmla="*/ 669 w 840"/>
              <a:gd name="T19" fmla="*/ 366 h 376"/>
              <a:gd name="T20" fmla="*/ 642 w 840"/>
              <a:gd name="T21" fmla="*/ 376 h 376"/>
              <a:gd name="T22" fmla="*/ 40 w 840"/>
              <a:gd name="T23" fmla="*/ 376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40" h="376">
                <a:moveTo>
                  <a:pt x="40" y="376"/>
                </a:moveTo>
                <a:cubicBezTo>
                  <a:pt x="18" y="376"/>
                  <a:pt x="0" y="359"/>
                  <a:pt x="0" y="336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17"/>
                  <a:pt x="18" y="0"/>
                  <a:pt x="40" y="0"/>
                </a:cubicBezTo>
                <a:cubicBezTo>
                  <a:pt x="642" y="0"/>
                  <a:pt x="642" y="0"/>
                  <a:pt x="642" y="0"/>
                </a:cubicBezTo>
                <a:cubicBezTo>
                  <a:pt x="652" y="0"/>
                  <a:pt x="662" y="3"/>
                  <a:pt x="669" y="10"/>
                </a:cubicBezTo>
                <a:cubicBezTo>
                  <a:pt x="827" y="159"/>
                  <a:pt x="827" y="159"/>
                  <a:pt x="827" y="159"/>
                </a:cubicBezTo>
                <a:cubicBezTo>
                  <a:pt x="835" y="166"/>
                  <a:pt x="840" y="177"/>
                  <a:pt x="840" y="188"/>
                </a:cubicBezTo>
                <a:cubicBezTo>
                  <a:pt x="840" y="199"/>
                  <a:pt x="835" y="210"/>
                  <a:pt x="827" y="217"/>
                </a:cubicBezTo>
                <a:cubicBezTo>
                  <a:pt x="669" y="366"/>
                  <a:pt x="669" y="366"/>
                  <a:pt x="669" y="366"/>
                </a:cubicBezTo>
                <a:cubicBezTo>
                  <a:pt x="662" y="373"/>
                  <a:pt x="652" y="376"/>
                  <a:pt x="642" y="376"/>
                </a:cubicBezTo>
                <a:lnTo>
                  <a:pt x="40" y="376"/>
                </a:lnTo>
                <a:close/>
              </a:path>
            </a:pathLst>
          </a:custGeom>
          <a:gradFill flip="none" rotWithShape="0">
            <a:gsLst>
              <a:gs pos="0">
                <a:schemeClr val="tx1">
                  <a:alpha val="4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 dirty="0" err="1">
                <a:solidFill>
                  <a:schemeClr val="tx2"/>
                </a:solidFill>
              </a:rPr>
              <a:t>Flexo</a:t>
            </a:r>
            <a:r>
              <a:rPr lang="en-GB" b="1" dirty="0">
                <a:solidFill>
                  <a:schemeClr val="tx2"/>
                </a:solidFill>
              </a:rPr>
              <a:t>/</a:t>
            </a:r>
            <a:br>
              <a:rPr lang="en-GB" b="1" dirty="0">
                <a:solidFill>
                  <a:schemeClr val="tx2"/>
                </a:solidFill>
              </a:rPr>
            </a:br>
            <a:r>
              <a:rPr lang="en-GB" b="1" dirty="0">
                <a:solidFill>
                  <a:schemeClr val="tx2"/>
                </a:solidFill>
              </a:rPr>
              <a:t>gravure options</a:t>
            </a:r>
            <a:endParaRPr lang="en-US" dirty="0">
              <a:solidFill>
                <a:schemeClr val="tx2"/>
              </a:solidFill>
            </a:endParaRPr>
          </a:p>
        </p:txBody>
      </p:sp>
      <p:grpSp>
        <p:nvGrpSpPr>
          <p:cNvPr id="20" name="Group 100"/>
          <p:cNvGrpSpPr/>
          <p:nvPr/>
        </p:nvGrpSpPr>
        <p:grpSpPr>
          <a:xfrm>
            <a:off x="1978367" y="867898"/>
            <a:ext cx="1307578" cy="1249169"/>
            <a:chOff x="1093195" y="1347614"/>
            <a:chExt cx="1124964" cy="1074712"/>
          </a:xfrm>
        </p:grpSpPr>
        <p:sp>
          <p:nvSpPr>
            <p:cNvPr id="21" name="Oval 20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093195" y="1636727"/>
              <a:ext cx="1124964" cy="4964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GB" sz="1400" dirty="0">
                  <a:solidFill>
                    <a:schemeClr val="bg1"/>
                  </a:solidFill>
                </a:rPr>
                <a:t>Water-</a:t>
              </a:r>
              <a:br>
                <a:rPr lang="en-GB" sz="1400" dirty="0">
                  <a:solidFill>
                    <a:schemeClr val="bg1"/>
                  </a:solidFill>
                </a:rPr>
              </a:br>
              <a:r>
                <a:rPr lang="en-GB" sz="1400" dirty="0">
                  <a:solidFill>
                    <a:schemeClr val="bg1"/>
                  </a:solidFill>
                </a:rPr>
                <a:t>based</a:t>
              </a:r>
              <a:br>
                <a:rPr lang="en-GB" sz="1400" dirty="0">
                  <a:solidFill>
                    <a:schemeClr val="bg1"/>
                  </a:solidFill>
                </a:rPr>
              </a:br>
              <a:r>
                <a:rPr lang="en-GB" sz="1400" dirty="0">
                  <a:solidFill>
                    <a:schemeClr val="bg1"/>
                  </a:solidFill>
                </a:rPr>
                <a:t>inks</a:t>
              </a:r>
            </a:p>
          </p:txBody>
        </p:sp>
      </p:grpSp>
      <p:grpSp>
        <p:nvGrpSpPr>
          <p:cNvPr id="23" name="Group 100"/>
          <p:cNvGrpSpPr/>
          <p:nvPr/>
        </p:nvGrpSpPr>
        <p:grpSpPr>
          <a:xfrm>
            <a:off x="734478" y="1313010"/>
            <a:ext cx="1544122" cy="1475146"/>
            <a:chOff x="1093195" y="1347614"/>
            <a:chExt cx="1124964" cy="1074712"/>
          </a:xfrm>
        </p:grpSpPr>
        <p:sp>
          <p:nvSpPr>
            <p:cNvPr id="24" name="Oval 23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093195" y="1674755"/>
              <a:ext cx="1124964" cy="420430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US" sz="1400" dirty="0">
                  <a:solidFill>
                    <a:schemeClr val="bg1"/>
                  </a:solidFill>
                </a:rPr>
                <a:t>Water-based Electron Beam (EB) cured inks</a:t>
              </a:r>
            </a:p>
          </p:txBody>
        </p:sp>
      </p:grpSp>
      <p:grpSp>
        <p:nvGrpSpPr>
          <p:cNvPr id="26" name="Group 100"/>
          <p:cNvGrpSpPr/>
          <p:nvPr/>
        </p:nvGrpSpPr>
        <p:grpSpPr>
          <a:xfrm>
            <a:off x="421845" y="2449740"/>
            <a:ext cx="1157706" cy="1105992"/>
            <a:chOff x="1093195" y="1347614"/>
            <a:chExt cx="1124964" cy="1074712"/>
          </a:xfrm>
        </p:grpSpPr>
        <p:sp>
          <p:nvSpPr>
            <p:cNvPr id="27" name="Oval 26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93195" y="1761603"/>
              <a:ext cx="1124964" cy="246735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GB" sz="1400" dirty="0" err="1">
                  <a:solidFill>
                    <a:schemeClr val="bg1"/>
                  </a:solidFill>
                </a:rPr>
                <a:t>Wetflex</a:t>
              </a:r>
              <a:endParaRPr lang="en-GB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Group 100"/>
          <p:cNvGrpSpPr/>
          <p:nvPr/>
        </p:nvGrpSpPr>
        <p:grpSpPr>
          <a:xfrm>
            <a:off x="1311343" y="3230877"/>
            <a:ext cx="1421282" cy="1357793"/>
            <a:chOff x="1093195" y="1347614"/>
            <a:chExt cx="1124964" cy="1074712"/>
          </a:xfrm>
        </p:grpSpPr>
        <p:sp>
          <p:nvSpPr>
            <p:cNvPr id="30" name="Oval 29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093195" y="1720355"/>
              <a:ext cx="1124964" cy="329229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US" sz="1400" dirty="0">
                  <a:solidFill>
                    <a:schemeClr val="bg1"/>
                  </a:solidFill>
                </a:rPr>
                <a:t>Conventional UV </a:t>
              </a:r>
              <a:r>
                <a:rPr lang="en-US" sz="1400" dirty="0" err="1">
                  <a:solidFill>
                    <a:schemeClr val="bg1"/>
                  </a:solidFill>
                </a:rPr>
                <a:t>flexo</a:t>
              </a:r>
              <a:r>
                <a:rPr lang="en-US" sz="1400" dirty="0">
                  <a:solidFill>
                    <a:schemeClr val="bg1"/>
                  </a:solidFill>
                </a:rPr>
                <a:t> inks</a:t>
              </a:r>
            </a:p>
          </p:txBody>
        </p:sp>
      </p:grpSp>
      <p:grpSp>
        <p:nvGrpSpPr>
          <p:cNvPr id="32" name="Group 100"/>
          <p:cNvGrpSpPr/>
          <p:nvPr/>
        </p:nvGrpSpPr>
        <p:grpSpPr>
          <a:xfrm>
            <a:off x="6770413" y="1307849"/>
            <a:ext cx="1725405" cy="1648331"/>
            <a:chOff x="1093195" y="1347614"/>
            <a:chExt cx="1124964" cy="1074712"/>
          </a:xfrm>
        </p:grpSpPr>
        <p:sp>
          <p:nvSpPr>
            <p:cNvPr id="33" name="Oval 32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093195" y="1749371"/>
              <a:ext cx="1124964" cy="2711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US" sz="1400" dirty="0">
                  <a:solidFill>
                    <a:schemeClr val="bg1"/>
                  </a:solidFill>
                </a:rPr>
                <a:t>Electron Beam (EB) cured inks</a:t>
              </a:r>
            </a:p>
          </p:txBody>
        </p:sp>
      </p:grpSp>
      <p:grpSp>
        <p:nvGrpSpPr>
          <p:cNvPr id="35" name="Group 100"/>
          <p:cNvGrpSpPr/>
          <p:nvPr/>
        </p:nvGrpSpPr>
        <p:grpSpPr>
          <a:xfrm>
            <a:off x="6369194" y="2547783"/>
            <a:ext cx="1544122" cy="1475146"/>
            <a:chOff x="1093195" y="1347614"/>
            <a:chExt cx="1124964" cy="1074712"/>
          </a:xfrm>
        </p:grpSpPr>
        <p:sp>
          <p:nvSpPr>
            <p:cNvPr id="36" name="Oval 35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093195" y="1733452"/>
              <a:ext cx="1124964" cy="30303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US" sz="1400" dirty="0">
                  <a:solidFill>
                    <a:schemeClr val="bg1"/>
                  </a:solidFill>
                </a:rPr>
                <a:t>Conventional</a:t>
              </a:r>
              <a:br>
                <a:rPr lang="en-US" sz="1400" dirty="0">
                  <a:solidFill>
                    <a:schemeClr val="bg1"/>
                  </a:solidFill>
                </a:rPr>
              </a:br>
              <a:r>
                <a:rPr lang="en-US" sz="1400" dirty="0">
                  <a:solidFill>
                    <a:schemeClr val="bg1"/>
                  </a:solidFill>
                </a:rPr>
                <a:t>UV cured inks</a:t>
              </a:r>
            </a:p>
          </p:txBody>
        </p:sp>
      </p:grpSp>
      <p:sp>
        <p:nvSpPr>
          <p:cNvPr id="58" name="Freeform 32"/>
          <p:cNvSpPr>
            <a:spLocks/>
          </p:cNvSpPr>
          <p:nvPr/>
        </p:nvSpPr>
        <p:spPr bwMode="auto">
          <a:xfrm>
            <a:off x="6216042" y="1131994"/>
            <a:ext cx="654853" cy="647592"/>
          </a:xfrm>
          <a:custGeom>
            <a:avLst/>
            <a:gdLst>
              <a:gd name="T0" fmla="*/ 650 w 1158"/>
              <a:gd name="T1" fmla="*/ 1119 h 1145"/>
              <a:gd name="T2" fmla="*/ 579 w 1158"/>
              <a:gd name="T3" fmla="*/ 1045 h 1145"/>
              <a:gd name="T4" fmla="*/ 450 w 1158"/>
              <a:gd name="T5" fmla="*/ 1102 h 1145"/>
              <a:gd name="T6" fmla="*/ 414 w 1158"/>
              <a:gd name="T7" fmla="*/ 1126 h 1145"/>
              <a:gd name="T8" fmla="*/ 265 w 1158"/>
              <a:gd name="T9" fmla="*/ 1058 h 1145"/>
              <a:gd name="T10" fmla="*/ 277 w 1158"/>
              <a:gd name="T11" fmla="*/ 937 h 1145"/>
              <a:gd name="T12" fmla="*/ 107 w 1158"/>
              <a:gd name="T13" fmla="*/ 858 h 1145"/>
              <a:gd name="T14" fmla="*/ 76 w 1158"/>
              <a:gd name="T15" fmla="*/ 856 h 1145"/>
              <a:gd name="T16" fmla="*/ 7 w 1158"/>
              <a:gd name="T17" fmla="*/ 695 h 1145"/>
              <a:gd name="T18" fmla="*/ 108 w 1158"/>
              <a:gd name="T19" fmla="*/ 617 h 1145"/>
              <a:gd name="T20" fmla="*/ 53 w 1158"/>
              <a:gd name="T21" fmla="*/ 447 h 1145"/>
              <a:gd name="T22" fmla="*/ 34 w 1158"/>
              <a:gd name="T23" fmla="*/ 393 h 1145"/>
              <a:gd name="T24" fmla="*/ 122 w 1158"/>
              <a:gd name="T25" fmla="*/ 240 h 1145"/>
              <a:gd name="T26" fmla="*/ 152 w 1158"/>
              <a:gd name="T27" fmla="*/ 242 h 1145"/>
              <a:gd name="T28" fmla="*/ 212 w 1158"/>
              <a:gd name="T29" fmla="*/ 273 h 1145"/>
              <a:gd name="T30" fmla="*/ 291 w 1158"/>
              <a:gd name="T31" fmla="*/ 102 h 1145"/>
              <a:gd name="T32" fmla="*/ 455 w 1158"/>
              <a:gd name="T33" fmla="*/ 2 h 1145"/>
              <a:gd name="T34" fmla="*/ 506 w 1158"/>
              <a:gd name="T35" fmla="*/ 26 h 1145"/>
              <a:gd name="T36" fmla="*/ 580 w 1158"/>
              <a:gd name="T37" fmla="*/ 98 h 1145"/>
              <a:gd name="T38" fmla="*/ 707 w 1158"/>
              <a:gd name="T39" fmla="*/ 41 h 1145"/>
              <a:gd name="T40" fmla="*/ 743 w 1158"/>
              <a:gd name="T41" fmla="*/ 18 h 1145"/>
              <a:gd name="T42" fmla="*/ 893 w 1158"/>
              <a:gd name="T43" fmla="*/ 87 h 1145"/>
              <a:gd name="T44" fmla="*/ 880 w 1158"/>
              <a:gd name="T45" fmla="*/ 206 h 1145"/>
              <a:gd name="T46" fmla="*/ 1050 w 1158"/>
              <a:gd name="T47" fmla="*/ 285 h 1145"/>
              <a:gd name="T48" fmla="*/ 1081 w 1158"/>
              <a:gd name="T49" fmla="*/ 286 h 1145"/>
              <a:gd name="T50" fmla="*/ 1150 w 1158"/>
              <a:gd name="T51" fmla="*/ 447 h 1145"/>
              <a:gd name="T52" fmla="*/ 1051 w 1158"/>
              <a:gd name="T53" fmla="*/ 525 h 1145"/>
              <a:gd name="T54" fmla="*/ 1114 w 1158"/>
              <a:gd name="T55" fmla="*/ 702 h 1145"/>
              <a:gd name="T56" fmla="*/ 1070 w 1158"/>
              <a:gd name="T57" fmla="*/ 888 h 1145"/>
              <a:gd name="T58" fmla="*/ 1034 w 1158"/>
              <a:gd name="T59" fmla="*/ 910 h 1145"/>
              <a:gd name="T60" fmla="*/ 945 w 1158"/>
              <a:gd name="T61" fmla="*/ 872 h 1145"/>
              <a:gd name="T62" fmla="*/ 865 w 1158"/>
              <a:gd name="T63" fmla="*/ 1043 h 1145"/>
              <a:gd name="T64" fmla="*/ 701 w 1158"/>
              <a:gd name="T65" fmla="*/ 1143 h 1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58" h="1145">
                <a:moveTo>
                  <a:pt x="687" y="1145"/>
                </a:moveTo>
                <a:cubicBezTo>
                  <a:pt x="671" y="1145"/>
                  <a:pt x="655" y="1135"/>
                  <a:pt x="650" y="1119"/>
                </a:cubicBezTo>
                <a:cubicBezTo>
                  <a:pt x="623" y="1043"/>
                  <a:pt x="623" y="1043"/>
                  <a:pt x="623" y="1043"/>
                </a:cubicBezTo>
                <a:cubicBezTo>
                  <a:pt x="609" y="1045"/>
                  <a:pt x="594" y="1045"/>
                  <a:pt x="579" y="1045"/>
                </a:cubicBezTo>
                <a:cubicBezTo>
                  <a:pt x="546" y="1045"/>
                  <a:pt x="514" y="1042"/>
                  <a:pt x="481" y="1035"/>
                </a:cubicBezTo>
                <a:cubicBezTo>
                  <a:pt x="450" y="1102"/>
                  <a:pt x="450" y="1102"/>
                  <a:pt x="450" y="1102"/>
                </a:cubicBezTo>
                <a:cubicBezTo>
                  <a:pt x="446" y="1112"/>
                  <a:pt x="438" y="1120"/>
                  <a:pt x="428" y="1123"/>
                </a:cubicBezTo>
                <a:cubicBezTo>
                  <a:pt x="423" y="1125"/>
                  <a:pt x="419" y="1126"/>
                  <a:pt x="414" y="1126"/>
                </a:cubicBezTo>
                <a:cubicBezTo>
                  <a:pt x="408" y="1126"/>
                  <a:pt x="402" y="1124"/>
                  <a:pt x="397" y="1122"/>
                </a:cubicBezTo>
                <a:cubicBezTo>
                  <a:pt x="265" y="1058"/>
                  <a:pt x="265" y="1058"/>
                  <a:pt x="265" y="1058"/>
                </a:cubicBezTo>
                <a:cubicBezTo>
                  <a:pt x="245" y="1048"/>
                  <a:pt x="237" y="1025"/>
                  <a:pt x="246" y="1005"/>
                </a:cubicBezTo>
                <a:cubicBezTo>
                  <a:pt x="277" y="937"/>
                  <a:pt x="277" y="937"/>
                  <a:pt x="277" y="937"/>
                </a:cubicBezTo>
                <a:cubicBezTo>
                  <a:pt x="241" y="906"/>
                  <a:pt x="209" y="871"/>
                  <a:pt x="183" y="831"/>
                </a:cubicBezTo>
                <a:cubicBezTo>
                  <a:pt x="107" y="858"/>
                  <a:pt x="107" y="858"/>
                  <a:pt x="107" y="858"/>
                </a:cubicBezTo>
                <a:cubicBezTo>
                  <a:pt x="103" y="860"/>
                  <a:pt x="98" y="860"/>
                  <a:pt x="94" y="860"/>
                </a:cubicBezTo>
                <a:cubicBezTo>
                  <a:pt x="88" y="860"/>
                  <a:pt x="82" y="859"/>
                  <a:pt x="76" y="856"/>
                </a:cubicBezTo>
                <a:cubicBezTo>
                  <a:pt x="67" y="852"/>
                  <a:pt x="59" y="844"/>
                  <a:pt x="56" y="834"/>
                </a:cubicBezTo>
                <a:cubicBezTo>
                  <a:pt x="7" y="695"/>
                  <a:pt x="7" y="695"/>
                  <a:pt x="7" y="695"/>
                </a:cubicBezTo>
                <a:cubicBezTo>
                  <a:pt x="0" y="675"/>
                  <a:pt x="11" y="652"/>
                  <a:pt x="31" y="644"/>
                </a:cubicBezTo>
                <a:cubicBezTo>
                  <a:pt x="108" y="617"/>
                  <a:pt x="108" y="617"/>
                  <a:pt x="108" y="617"/>
                </a:cubicBezTo>
                <a:cubicBezTo>
                  <a:pt x="104" y="570"/>
                  <a:pt x="106" y="523"/>
                  <a:pt x="116" y="477"/>
                </a:cubicBezTo>
                <a:cubicBezTo>
                  <a:pt x="53" y="447"/>
                  <a:pt x="53" y="447"/>
                  <a:pt x="53" y="447"/>
                </a:cubicBezTo>
                <a:cubicBezTo>
                  <a:pt x="43" y="442"/>
                  <a:pt x="36" y="434"/>
                  <a:pt x="33" y="424"/>
                </a:cubicBezTo>
                <a:cubicBezTo>
                  <a:pt x="29" y="414"/>
                  <a:pt x="30" y="403"/>
                  <a:pt x="34" y="393"/>
                </a:cubicBezTo>
                <a:cubicBezTo>
                  <a:pt x="98" y="261"/>
                  <a:pt x="98" y="261"/>
                  <a:pt x="98" y="261"/>
                </a:cubicBezTo>
                <a:cubicBezTo>
                  <a:pt x="103" y="251"/>
                  <a:pt x="111" y="243"/>
                  <a:pt x="122" y="240"/>
                </a:cubicBezTo>
                <a:cubicBezTo>
                  <a:pt x="126" y="239"/>
                  <a:pt x="130" y="238"/>
                  <a:pt x="134" y="238"/>
                </a:cubicBezTo>
                <a:cubicBezTo>
                  <a:pt x="141" y="238"/>
                  <a:pt x="147" y="239"/>
                  <a:pt x="152" y="242"/>
                </a:cubicBezTo>
                <a:cubicBezTo>
                  <a:pt x="212" y="273"/>
                  <a:pt x="212" y="273"/>
                  <a:pt x="212" y="273"/>
                </a:cubicBezTo>
                <a:cubicBezTo>
                  <a:pt x="212" y="273"/>
                  <a:pt x="212" y="273"/>
                  <a:pt x="212" y="273"/>
                </a:cubicBezTo>
                <a:cubicBezTo>
                  <a:pt x="242" y="236"/>
                  <a:pt x="278" y="204"/>
                  <a:pt x="317" y="178"/>
                </a:cubicBezTo>
                <a:cubicBezTo>
                  <a:pt x="291" y="102"/>
                  <a:pt x="291" y="102"/>
                  <a:pt x="291" y="102"/>
                </a:cubicBezTo>
                <a:cubicBezTo>
                  <a:pt x="283" y="82"/>
                  <a:pt x="294" y="59"/>
                  <a:pt x="315" y="51"/>
                </a:cubicBezTo>
                <a:cubicBezTo>
                  <a:pt x="455" y="2"/>
                  <a:pt x="455" y="2"/>
                  <a:pt x="455" y="2"/>
                </a:cubicBezTo>
                <a:cubicBezTo>
                  <a:pt x="459" y="0"/>
                  <a:pt x="464" y="0"/>
                  <a:pt x="468" y="0"/>
                </a:cubicBezTo>
                <a:cubicBezTo>
                  <a:pt x="485" y="0"/>
                  <a:pt x="500" y="10"/>
                  <a:pt x="506" y="26"/>
                </a:cubicBezTo>
                <a:cubicBezTo>
                  <a:pt x="532" y="101"/>
                  <a:pt x="532" y="101"/>
                  <a:pt x="532" y="101"/>
                </a:cubicBezTo>
                <a:cubicBezTo>
                  <a:pt x="548" y="99"/>
                  <a:pt x="564" y="98"/>
                  <a:pt x="580" y="98"/>
                </a:cubicBezTo>
                <a:cubicBezTo>
                  <a:pt x="612" y="98"/>
                  <a:pt x="644" y="102"/>
                  <a:pt x="675" y="108"/>
                </a:cubicBezTo>
                <a:cubicBezTo>
                  <a:pt x="707" y="41"/>
                  <a:pt x="707" y="41"/>
                  <a:pt x="707" y="41"/>
                </a:cubicBezTo>
                <a:cubicBezTo>
                  <a:pt x="712" y="32"/>
                  <a:pt x="720" y="24"/>
                  <a:pt x="730" y="21"/>
                </a:cubicBezTo>
                <a:cubicBezTo>
                  <a:pt x="734" y="19"/>
                  <a:pt x="739" y="18"/>
                  <a:pt x="743" y="18"/>
                </a:cubicBezTo>
                <a:cubicBezTo>
                  <a:pt x="749" y="18"/>
                  <a:pt x="755" y="20"/>
                  <a:pt x="761" y="22"/>
                </a:cubicBezTo>
                <a:cubicBezTo>
                  <a:pt x="893" y="87"/>
                  <a:pt x="893" y="87"/>
                  <a:pt x="893" y="87"/>
                </a:cubicBezTo>
                <a:cubicBezTo>
                  <a:pt x="913" y="96"/>
                  <a:pt x="921" y="120"/>
                  <a:pt x="912" y="140"/>
                </a:cubicBezTo>
                <a:cubicBezTo>
                  <a:pt x="880" y="206"/>
                  <a:pt x="880" y="206"/>
                  <a:pt x="880" y="206"/>
                </a:cubicBezTo>
                <a:cubicBezTo>
                  <a:pt x="917" y="236"/>
                  <a:pt x="949" y="272"/>
                  <a:pt x="975" y="311"/>
                </a:cubicBezTo>
                <a:cubicBezTo>
                  <a:pt x="1050" y="285"/>
                  <a:pt x="1050" y="285"/>
                  <a:pt x="1050" y="285"/>
                </a:cubicBezTo>
                <a:cubicBezTo>
                  <a:pt x="1055" y="283"/>
                  <a:pt x="1059" y="282"/>
                  <a:pt x="1064" y="282"/>
                </a:cubicBezTo>
                <a:cubicBezTo>
                  <a:pt x="1070" y="282"/>
                  <a:pt x="1076" y="284"/>
                  <a:pt x="1081" y="286"/>
                </a:cubicBezTo>
                <a:cubicBezTo>
                  <a:pt x="1091" y="291"/>
                  <a:pt x="1098" y="299"/>
                  <a:pt x="1102" y="309"/>
                </a:cubicBezTo>
                <a:cubicBezTo>
                  <a:pt x="1150" y="447"/>
                  <a:pt x="1150" y="447"/>
                  <a:pt x="1150" y="447"/>
                </a:cubicBezTo>
                <a:cubicBezTo>
                  <a:pt x="1158" y="468"/>
                  <a:pt x="1147" y="491"/>
                  <a:pt x="1126" y="498"/>
                </a:cubicBezTo>
                <a:cubicBezTo>
                  <a:pt x="1051" y="525"/>
                  <a:pt x="1051" y="525"/>
                  <a:pt x="1051" y="525"/>
                </a:cubicBezTo>
                <a:cubicBezTo>
                  <a:pt x="1055" y="572"/>
                  <a:pt x="1053" y="620"/>
                  <a:pt x="1043" y="667"/>
                </a:cubicBezTo>
                <a:cubicBezTo>
                  <a:pt x="1114" y="702"/>
                  <a:pt x="1114" y="702"/>
                  <a:pt x="1114" y="702"/>
                </a:cubicBezTo>
                <a:cubicBezTo>
                  <a:pt x="1134" y="711"/>
                  <a:pt x="1142" y="735"/>
                  <a:pt x="1133" y="755"/>
                </a:cubicBezTo>
                <a:cubicBezTo>
                  <a:pt x="1070" y="888"/>
                  <a:pt x="1070" y="888"/>
                  <a:pt x="1070" y="888"/>
                </a:cubicBezTo>
                <a:cubicBezTo>
                  <a:pt x="1066" y="897"/>
                  <a:pt x="1058" y="905"/>
                  <a:pt x="1048" y="908"/>
                </a:cubicBezTo>
                <a:cubicBezTo>
                  <a:pt x="1043" y="910"/>
                  <a:pt x="1039" y="910"/>
                  <a:pt x="1034" y="910"/>
                </a:cubicBezTo>
                <a:cubicBezTo>
                  <a:pt x="1028" y="910"/>
                  <a:pt x="1022" y="909"/>
                  <a:pt x="1017" y="907"/>
                </a:cubicBezTo>
                <a:cubicBezTo>
                  <a:pt x="945" y="872"/>
                  <a:pt x="945" y="872"/>
                  <a:pt x="945" y="872"/>
                </a:cubicBezTo>
                <a:cubicBezTo>
                  <a:pt x="915" y="910"/>
                  <a:pt x="879" y="942"/>
                  <a:pt x="838" y="968"/>
                </a:cubicBezTo>
                <a:cubicBezTo>
                  <a:pt x="865" y="1043"/>
                  <a:pt x="865" y="1043"/>
                  <a:pt x="865" y="1043"/>
                </a:cubicBezTo>
                <a:cubicBezTo>
                  <a:pt x="872" y="1063"/>
                  <a:pt x="861" y="1086"/>
                  <a:pt x="840" y="1094"/>
                </a:cubicBezTo>
                <a:cubicBezTo>
                  <a:pt x="701" y="1143"/>
                  <a:pt x="701" y="1143"/>
                  <a:pt x="701" y="1143"/>
                </a:cubicBezTo>
                <a:cubicBezTo>
                  <a:pt x="696" y="1144"/>
                  <a:pt x="692" y="1145"/>
                  <a:pt x="687" y="1145"/>
                </a:cubicBezTo>
                <a:close/>
              </a:path>
            </a:pathLst>
          </a:custGeom>
          <a:solidFill>
            <a:schemeClr val="tx1">
              <a:alpha val="27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Freeform 32"/>
          <p:cNvSpPr>
            <a:spLocks/>
          </p:cNvSpPr>
          <p:nvPr/>
        </p:nvSpPr>
        <p:spPr bwMode="auto">
          <a:xfrm>
            <a:off x="1977303" y="2526315"/>
            <a:ext cx="654853" cy="647592"/>
          </a:xfrm>
          <a:custGeom>
            <a:avLst/>
            <a:gdLst>
              <a:gd name="T0" fmla="*/ 650 w 1158"/>
              <a:gd name="T1" fmla="*/ 1119 h 1145"/>
              <a:gd name="T2" fmla="*/ 579 w 1158"/>
              <a:gd name="T3" fmla="*/ 1045 h 1145"/>
              <a:gd name="T4" fmla="*/ 450 w 1158"/>
              <a:gd name="T5" fmla="*/ 1102 h 1145"/>
              <a:gd name="T6" fmla="*/ 414 w 1158"/>
              <a:gd name="T7" fmla="*/ 1126 h 1145"/>
              <a:gd name="T8" fmla="*/ 265 w 1158"/>
              <a:gd name="T9" fmla="*/ 1058 h 1145"/>
              <a:gd name="T10" fmla="*/ 277 w 1158"/>
              <a:gd name="T11" fmla="*/ 937 h 1145"/>
              <a:gd name="T12" fmla="*/ 107 w 1158"/>
              <a:gd name="T13" fmla="*/ 858 h 1145"/>
              <a:gd name="T14" fmla="*/ 76 w 1158"/>
              <a:gd name="T15" fmla="*/ 856 h 1145"/>
              <a:gd name="T16" fmla="*/ 7 w 1158"/>
              <a:gd name="T17" fmla="*/ 695 h 1145"/>
              <a:gd name="T18" fmla="*/ 108 w 1158"/>
              <a:gd name="T19" fmla="*/ 617 h 1145"/>
              <a:gd name="T20" fmla="*/ 53 w 1158"/>
              <a:gd name="T21" fmla="*/ 447 h 1145"/>
              <a:gd name="T22" fmla="*/ 34 w 1158"/>
              <a:gd name="T23" fmla="*/ 393 h 1145"/>
              <a:gd name="T24" fmla="*/ 122 w 1158"/>
              <a:gd name="T25" fmla="*/ 240 h 1145"/>
              <a:gd name="T26" fmla="*/ 152 w 1158"/>
              <a:gd name="T27" fmla="*/ 242 h 1145"/>
              <a:gd name="T28" fmla="*/ 212 w 1158"/>
              <a:gd name="T29" fmla="*/ 273 h 1145"/>
              <a:gd name="T30" fmla="*/ 291 w 1158"/>
              <a:gd name="T31" fmla="*/ 102 h 1145"/>
              <a:gd name="T32" fmla="*/ 455 w 1158"/>
              <a:gd name="T33" fmla="*/ 2 h 1145"/>
              <a:gd name="T34" fmla="*/ 506 w 1158"/>
              <a:gd name="T35" fmla="*/ 26 h 1145"/>
              <a:gd name="T36" fmla="*/ 580 w 1158"/>
              <a:gd name="T37" fmla="*/ 98 h 1145"/>
              <a:gd name="T38" fmla="*/ 707 w 1158"/>
              <a:gd name="T39" fmla="*/ 41 h 1145"/>
              <a:gd name="T40" fmla="*/ 743 w 1158"/>
              <a:gd name="T41" fmla="*/ 18 h 1145"/>
              <a:gd name="T42" fmla="*/ 893 w 1158"/>
              <a:gd name="T43" fmla="*/ 87 h 1145"/>
              <a:gd name="T44" fmla="*/ 880 w 1158"/>
              <a:gd name="T45" fmla="*/ 206 h 1145"/>
              <a:gd name="T46" fmla="*/ 1050 w 1158"/>
              <a:gd name="T47" fmla="*/ 285 h 1145"/>
              <a:gd name="T48" fmla="*/ 1081 w 1158"/>
              <a:gd name="T49" fmla="*/ 286 h 1145"/>
              <a:gd name="T50" fmla="*/ 1150 w 1158"/>
              <a:gd name="T51" fmla="*/ 447 h 1145"/>
              <a:gd name="T52" fmla="*/ 1051 w 1158"/>
              <a:gd name="T53" fmla="*/ 525 h 1145"/>
              <a:gd name="T54" fmla="*/ 1114 w 1158"/>
              <a:gd name="T55" fmla="*/ 702 h 1145"/>
              <a:gd name="T56" fmla="*/ 1070 w 1158"/>
              <a:gd name="T57" fmla="*/ 888 h 1145"/>
              <a:gd name="T58" fmla="*/ 1034 w 1158"/>
              <a:gd name="T59" fmla="*/ 910 h 1145"/>
              <a:gd name="T60" fmla="*/ 945 w 1158"/>
              <a:gd name="T61" fmla="*/ 872 h 1145"/>
              <a:gd name="T62" fmla="*/ 865 w 1158"/>
              <a:gd name="T63" fmla="*/ 1043 h 1145"/>
              <a:gd name="T64" fmla="*/ 701 w 1158"/>
              <a:gd name="T65" fmla="*/ 1143 h 1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58" h="1145">
                <a:moveTo>
                  <a:pt x="687" y="1145"/>
                </a:moveTo>
                <a:cubicBezTo>
                  <a:pt x="671" y="1145"/>
                  <a:pt x="655" y="1135"/>
                  <a:pt x="650" y="1119"/>
                </a:cubicBezTo>
                <a:cubicBezTo>
                  <a:pt x="623" y="1043"/>
                  <a:pt x="623" y="1043"/>
                  <a:pt x="623" y="1043"/>
                </a:cubicBezTo>
                <a:cubicBezTo>
                  <a:pt x="609" y="1045"/>
                  <a:pt x="594" y="1045"/>
                  <a:pt x="579" y="1045"/>
                </a:cubicBezTo>
                <a:cubicBezTo>
                  <a:pt x="546" y="1045"/>
                  <a:pt x="514" y="1042"/>
                  <a:pt x="481" y="1035"/>
                </a:cubicBezTo>
                <a:cubicBezTo>
                  <a:pt x="450" y="1102"/>
                  <a:pt x="450" y="1102"/>
                  <a:pt x="450" y="1102"/>
                </a:cubicBezTo>
                <a:cubicBezTo>
                  <a:pt x="446" y="1112"/>
                  <a:pt x="438" y="1120"/>
                  <a:pt x="428" y="1123"/>
                </a:cubicBezTo>
                <a:cubicBezTo>
                  <a:pt x="423" y="1125"/>
                  <a:pt x="419" y="1126"/>
                  <a:pt x="414" y="1126"/>
                </a:cubicBezTo>
                <a:cubicBezTo>
                  <a:pt x="408" y="1126"/>
                  <a:pt x="402" y="1124"/>
                  <a:pt x="397" y="1122"/>
                </a:cubicBezTo>
                <a:cubicBezTo>
                  <a:pt x="265" y="1058"/>
                  <a:pt x="265" y="1058"/>
                  <a:pt x="265" y="1058"/>
                </a:cubicBezTo>
                <a:cubicBezTo>
                  <a:pt x="245" y="1048"/>
                  <a:pt x="237" y="1025"/>
                  <a:pt x="246" y="1005"/>
                </a:cubicBezTo>
                <a:cubicBezTo>
                  <a:pt x="277" y="937"/>
                  <a:pt x="277" y="937"/>
                  <a:pt x="277" y="937"/>
                </a:cubicBezTo>
                <a:cubicBezTo>
                  <a:pt x="241" y="906"/>
                  <a:pt x="209" y="871"/>
                  <a:pt x="183" y="831"/>
                </a:cubicBezTo>
                <a:cubicBezTo>
                  <a:pt x="107" y="858"/>
                  <a:pt x="107" y="858"/>
                  <a:pt x="107" y="858"/>
                </a:cubicBezTo>
                <a:cubicBezTo>
                  <a:pt x="103" y="860"/>
                  <a:pt x="98" y="860"/>
                  <a:pt x="94" y="860"/>
                </a:cubicBezTo>
                <a:cubicBezTo>
                  <a:pt x="88" y="860"/>
                  <a:pt x="82" y="859"/>
                  <a:pt x="76" y="856"/>
                </a:cubicBezTo>
                <a:cubicBezTo>
                  <a:pt x="67" y="852"/>
                  <a:pt x="59" y="844"/>
                  <a:pt x="56" y="834"/>
                </a:cubicBezTo>
                <a:cubicBezTo>
                  <a:pt x="7" y="695"/>
                  <a:pt x="7" y="695"/>
                  <a:pt x="7" y="695"/>
                </a:cubicBezTo>
                <a:cubicBezTo>
                  <a:pt x="0" y="675"/>
                  <a:pt x="11" y="652"/>
                  <a:pt x="31" y="644"/>
                </a:cubicBezTo>
                <a:cubicBezTo>
                  <a:pt x="108" y="617"/>
                  <a:pt x="108" y="617"/>
                  <a:pt x="108" y="617"/>
                </a:cubicBezTo>
                <a:cubicBezTo>
                  <a:pt x="104" y="570"/>
                  <a:pt x="106" y="523"/>
                  <a:pt x="116" y="477"/>
                </a:cubicBezTo>
                <a:cubicBezTo>
                  <a:pt x="53" y="447"/>
                  <a:pt x="53" y="447"/>
                  <a:pt x="53" y="447"/>
                </a:cubicBezTo>
                <a:cubicBezTo>
                  <a:pt x="43" y="442"/>
                  <a:pt x="36" y="434"/>
                  <a:pt x="33" y="424"/>
                </a:cubicBezTo>
                <a:cubicBezTo>
                  <a:pt x="29" y="414"/>
                  <a:pt x="30" y="403"/>
                  <a:pt x="34" y="393"/>
                </a:cubicBezTo>
                <a:cubicBezTo>
                  <a:pt x="98" y="261"/>
                  <a:pt x="98" y="261"/>
                  <a:pt x="98" y="261"/>
                </a:cubicBezTo>
                <a:cubicBezTo>
                  <a:pt x="103" y="251"/>
                  <a:pt x="111" y="243"/>
                  <a:pt x="122" y="240"/>
                </a:cubicBezTo>
                <a:cubicBezTo>
                  <a:pt x="126" y="239"/>
                  <a:pt x="130" y="238"/>
                  <a:pt x="134" y="238"/>
                </a:cubicBezTo>
                <a:cubicBezTo>
                  <a:pt x="141" y="238"/>
                  <a:pt x="147" y="239"/>
                  <a:pt x="152" y="242"/>
                </a:cubicBezTo>
                <a:cubicBezTo>
                  <a:pt x="212" y="273"/>
                  <a:pt x="212" y="273"/>
                  <a:pt x="212" y="273"/>
                </a:cubicBezTo>
                <a:cubicBezTo>
                  <a:pt x="212" y="273"/>
                  <a:pt x="212" y="273"/>
                  <a:pt x="212" y="273"/>
                </a:cubicBezTo>
                <a:cubicBezTo>
                  <a:pt x="242" y="236"/>
                  <a:pt x="278" y="204"/>
                  <a:pt x="317" y="178"/>
                </a:cubicBezTo>
                <a:cubicBezTo>
                  <a:pt x="291" y="102"/>
                  <a:pt x="291" y="102"/>
                  <a:pt x="291" y="102"/>
                </a:cubicBezTo>
                <a:cubicBezTo>
                  <a:pt x="283" y="82"/>
                  <a:pt x="294" y="59"/>
                  <a:pt x="315" y="51"/>
                </a:cubicBezTo>
                <a:cubicBezTo>
                  <a:pt x="455" y="2"/>
                  <a:pt x="455" y="2"/>
                  <a:pt x="455" y="2"/>
                </a:cubicBezTo>
                <a:cubicBezTo>
                  <a:pt x="459" y="0"/>
                  <a:pt x="464" y="0"/>
                  <a:pt x="468" y="0"/>
                </a:cubicBezTo>
                <a:cubicBezTo>
                  <a:pt x="485" y="0"/>
                  <a:pt x="500" y="10"/>
                  <a:pt x="506" y="26"/>
                </a:cubicBezTo>
                <a:cubicBezTo>
                  <a:pt x="532" y="101"/>
                  <a:pt x="532" y="101"/>
                  <a:pt x="532" y="101"/>
                </a:cubicBezTo>
                <a:cubicBezTo>
                  <a:pt x="548" y="99"/>
                  <a:pt x="564" y="98"/>
                  <a:pt x="580" y="98"/>
                </a:cubicBezTo>
                <a:cubicBezTo>
                  <a:pt x="612" y="98"/>
                  <a:pt x="644" y="102"/>
                  <a:pt x="675" y="108"/>
                </a:cubicBezTo>
                <a:cubicBezTo>
                  <a:pt x="707" y="41"/>
                  <a:pt x="707" y="41"/>
                  <a:pt x="707" y="41"/>
                </a:cubicBezTo>
                <a:cubicBezTo>
                  <a:pt x="712" y="32"/>
                  <a:pt x="720" y="24"/>
                  <a:pt x="730" y="21"/>
                </a:cubicBezTo>
                <a:cubicBezTo>
                  <a:pt x="734" y="19"/>
                  <a:pt x="739" y="18"/>
                  <a:pt x="743" y="18"/>
                </a:cubicBezTo>
                <a:cubicBezTo>
                  <a:pt x="749" y="18"/>
                  <a:pt x="755" y="20"/>
                  <a:pt x="761" y="22"/>
                </a:cubicBezTo>
                <a:cubicBezTo>
                  <a:pt x="893" y="87"/>
                  <a:pt x="893" y="87"/>
                  <a:pt x="893" y="87"/>
                </a:cubicBezTo>
                <a:cubicBezTo>
                  <a:pt x="913" y="96"/>
                  <a:pt x="921" y="120"/>
                  <a:pt x="912" y="140"/>
                </a:cubicBezTo>
                <a:cubicBezTo>
                  <a:pt x="880" y="206"/>
                  <a:pt x="880" y="206"/>
                  <a:pt x="880" y="206"/>
                </a:cubicBezTo>
                <a:cubicBezTo>
                  <a:pt x="917" y="236"/>
                  <a:pt x="949" y="272"/>
                  <a:pt x="975" y="311"/>
                </a:cubicBezTo>
                <a:cubicBezTo>
                  <a:pt x="1050" y="285"/>
                  <a:pt x="1050" y="285"/>
                  <a:pt x="1050" y="285"/>
                </a:cubicBezTo>
                <a:cubicBezTo>
                  <a:pt x="1055" y="283"/>
                  <a:pt x="1059" y="282"/>
                  <a:pt x="1064" y="282"/>
                </a:cubicBezTo>
                <a:cubicBezTo>
                  <a:pt x="1070" y="282"/>
                  <a:pt x="1076" y="284"/>
                  <a:pt x="1081" y="286"/>
                </a:cubicBezTo>
                <a:cubicBezTo>
                  <a:pt x="1091" y="291"/>
                  <a:pt x="1098" y="299"/>
                  <a:pt x="1102" y="309"/>
                </a:cubicBezTo>
                <a:cubicBezTo>
                  <a:pt x="1150" y="447"/>
                  <a:pt x="1150" y="447"/>
                  <a:pt x="1150" y="447"/>
                </a:cubicBezTo>
                <a:cubicBezTo>
                  <a:pt x="1158" y="468"/>
                  <a:pt x="1147" y="491"/>
                  <a:pt x="1126" y="498"/>
                </a:cubicBezTo>
                <a:cubicBezTo>
                  <a:pt x="1051" y="525"/>
                  <a:pt x="1051" y="525"/>
                  <a:pt x="1051" y="525"/>
                </a:cubicBezTo>
                <a:cubicBezTo>
                  <a:pt x="1055" y="572"/>
                  <a:pt x="1053" y="620"/>
                  <a:pt x="1043" y="667"/>
                </a:cubicBezTo>
                <a:cubicBezTo>
                  <a:pt x="1114" y="702"/>
                  <a:pt x="1114" y="702"/>
                  <a:pt x="1114" y="702"/>
                </a:cubicBezTo>
                <a:cubicBezTo>
                  <a:pt x="1134" y="711"/>
                  <a:pt x="1142" y="735"/>
                  <a:pt x="1133" y="755"/>
                </a:cubicBezTo>
                <a:cubicBezTo>
                  <a:pt x="1070" y="888"/>
                  <a:pt x="1070" y="888"/>
                  <a:pt x="1070" y="888"/>
                </a:cubicBezTo>
                <a:cubicBezTo>
                  <a:pt x="1066" y="897"/>
                  <a:pt x="1058" y="905"/>
                  <a:pt x="1048" y="908"/>
                </a:cubicBezTo>
                <a:cubicBezTo>
                  <a:pt x="1043" y="910"/>
                  <a:pt x="1039" y="910"/>
                  <a:pt x="1034" y="910"/>
                </a:cubicBezTo>
                <a:cubicBezTo>
                  <a:pt x="1028" y="910"/>
                  <a:pt x="1022" y="909"/>
                  <a:pt x="1017" y="907"/>
                </a:cubicBezTo>
                <a:cubicBezTo>
                  <a:pt x="945" y="872"/>
                  <a:pt x="945" y="872"/>
                  <a:pt x="945" y="872"/>
                </a:cubicBezTo>
                <a:cubicBezTo>
                  <a:pt x="915" y="910"/>
                  <a:pt x="879" y="942"/>
                  <a:pt x="838" y="968"/>
                </a:cubicBezTo>
                <a:cubicBezTo>
                  <a:pt x="865" y="1043"/>
                  <a:pt x="865" y="1043"/>
                  <a:pt x="865" y="1043"/>
                </a:cubicBezTo>
                <a:cubicBezTo>
                  <a:pt x="872" y="1063"/>
                  <a:pt x="861" y="1086"/>
                  <a:pt x="840" y="1094"/>
                </a:cubicBezTo>
                <a:cubicBezTo>
                  <a:pt x="701" y="1143"/>
                  <a:pt x="701" y="1143"/>
                  <a:pt x="701" y="1143"/>
                </a:cubicBezTo>
                <a:cubicBezTo>
                  <a:pt x="696" y="1144"/>
                  <a:pt x="692" y="1145"/>
                  <a:pt x="687" y="1145"/>
                </a:cubicBezTo>
                <a:close/>
              </a:path>
            </a:pathLst>
          </a:custGeom>
          <a:solidFill>
            <a:schemeClr val="tx1">
              <a:alpha val="27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32"/>
          <p:cNvSpPr>
            <a:spLocks/>
          </p:cNvSpPr>
          <p:nvPr/>
        </p:nvSpPr>
        <p:spPr bwMode="auto">
          <a:xfrm>
            <a:off x="2618121" y="2379777"/>
            <a:ext cx="430043" cy="425275"/>
          </a:xfrm>
          <a:custGeom>
            <a:avLst/>
            <a:gdLst>
              <a:gd name="T0" fmla="*/ 650 w 1158"/>
              <a:gd name="T1" fmla="*/ 1119 h 1145"/>
              <a:gd name="T2" fmla="*/ 579 w 1158"/>
              <a:gd name="T3" fmla="*/ 1045 h 1145"/>
              <a:gd name="T4" fmla="*/ 450 w 1158"/>
              <a:gd name="T5" fmla="*/ 1102 h 1145"/>
              <a:gd name="T6" fmla="*/ 414 w 1158"/>
              <a:gd name="T7" fmla="*/ 1126 h 1145"/>
              <a:gd name="T8" fmla="*/ 265 w 1158"/>
              <a:gd name="T9" fmla="*/ 1058 h 1145"/>
              <a:gd name="T10" fmla="*/ 277 w 1158"/>
              <a:gd name="T11" fmla="*/ 937 h 1145"/>
              <a:gd name="T12" fmla="*/ 107 w 1158"/>
              <a:gd name="T13" fmla="*/ 858 h 1145"/>
              <a:gd name="T14" fmla="*/ 76 w 1158"/>
              <a:gd name="T15" fmla="*/ 856 h 1145"/>
              <a:gd name="T16" fmla="*/ 7 w 1158"/>
              <a:gd name="T17" fmla="*/ 695 h 1145"/>
              <a:gd name="T18" fmla="*/ 108 w 1158"/>
              <a:gd name="T19" fmla="*/ 617 h 1145"/>
              <a:gd name="T20" fmla="*/ 53 w 1158"/>
              <a:gd name="T21" fmla="*/ 447 h 1145"/>
              <a:gd name="T22" fmla="*/ 34 w 1158"/>
              <a:gd name="T23" fmla="*/ 393 h 1145"/>
              <a:gd name="T24" fmla="*/ 122 w 1158"/>
              <a:gd name="T25" fmla="*/ 240 h 1145"/>
              <a:gd name="T26" fmla="*/ 152 w 1158"/>
              <a:gd name="T27" fmla="*/ 242 h 1145"/>
              <a:gd name="T28" fmla="*/ 212 w 1158"/>
              <a:gd name="T29" fmla="*/ 273 h 1145"/>
              <a:gd name="T30" fmla="*/ 291 w 1158"/>
              <a:gd name="T31" fmla="*/ 102 h 1145"/>
              <a:gd name="T32" fmla="*/ 455 w 1158"/>
              <a:gd name="T33" fmla="*/ 2 h 1145"/>
              <a:gd name="T34" fmla="*/ 506 w 1158"/>
              <a:gd name="T35" fmla="*/ 26 h 1145"/>
              <a:gd name="T36" fmla="*/ 580 w 1158"/>
              <a:gd name="T37" fmla="*/ 98 h 1145"/>
              <a:gd name="T38" fmla="*/ 707 w 1158"/>
              <a:gd name="T39" fmla="*/ 41 h 1145"/>
              <a:gd name="T40" fmla="*/ 743 w 1158"/>
              <a:gd name="T41" fmla="*/ 18 h 1145"/>
              <a:gd name="T42" fmla="*/ 893 w 1158"/>
              <a:gd name="T43" fmla="*/ 87 h 1145"/>
              <a:gd name="T44" fmla="*/ 880 w 1158"/>
              <a:gd name="T45" fmla="*/ 206 h 1145"/>
              <a:gd name="T46" fmla="*/ 1050 w 1158"/>
              <a:gd name="T47" fmla="*/ 285 h 1145"/>
              <a:gd name="T48" fmla="*/ 1081 w 1158"/>
              <a:gd name="T49" fmla="*/ 286 h 1145"/>
              <a:gd name="T50" fmla="*/ 1150 w 1158"/>
              <a:gd name="T51" fmla="*/ 447 h 1145"/>
              <a:gd name="T52" fmla="*/ 1051 w 1158"/>
              <a:gd name="T53" fmla="*/ 525 h 1145"/>
              <a:gd name="T54" fmla="*/ 1114 w 1158"/>
              <a:gd name="T55" fmla="*/ 702 h 1145"/>
              <a:gd name="T56" fmla="*/ 1070 w 1158"/>
              <a:gd name="T57" fmla="*/ 888 h 1145"/>
              <a:gd name="T58" fmla="*/ 1034 w 1158"/>
              <a:gd name="T59" fmla="*/ 910 h 1145"/>
              <a:gd name="T60" fmla="*/ 945 w 1158"/>
              <a:gd name="T61" fmla="*/ 872 h 1145"/>
              <a:gd name="T62" fmla="*/ 865 w 1158"/>
              <a:gd name="T63" fmla="*/ 1043 h 1145"/>
              <a:gd name="T64" fmla="*/ 701 w 1158"/>
              <a:gd name="T65" fmla="*/ 1143 h 1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58" h="1145">
                <a:moveTo>
                  <a:pt x="687" y="1145"/>
                </a:moveTo>
                <a:cubicBezTo>
                  <a:pt x="671" y="1145"/>
                  <a:pt x="655" y="1135"/>
                  <a:pt x="650" y="1119"/>
                </a:cubicBezTo>
                <a:cubicBezTo>
                  <a:pt x="623" y="1043"/>
                  <a:pt x="623" y="1043"/>
                  <a:pt x="623" y="1043"/>
                </a:cubicBezTo>
                <a:cubicBezTo>
                  <a:pt x="609" y="1045"/>
                  <a:pt x="594" y="1045"/>
                  <a:pt x="579" y="1045"/>
                </a:cubicBezTo>
                <a:cubicBezTo>
                  <a:pt x="546" y="1045"/>
                  <a:pt x="514" y="1042"/>
                  <a:pt x="481" y="1035"/>
                </a:cubicBezTo>
                <a:cubicBezTo>
                  <a:pt x="450" y="1102"/>
                  <a:pt x="450" y="1102"/>
                  <a:pt x="450" y="1102"/>
                </a:cubicBezTo>
                <a:cubicBezTo>
                  <a:pt x="446" y="1112"/>
                  <a:pt x="438" y="1120"/>
                  <a:pt x="428" y="1123"/>
                </a:cubicBezTo>
                <a:cubicBezTo>
                  <a:pt x="423" y="1125"/>
                  <a:pt x="419" y="1126"/>
                  <a:pt x="414" y="1126"/>
                </a:cubicBezTo>
                <a:cubicBezTo>
                  <a:pt x="408" y="1126"/>
                  <a:pt x="402" y="1124"/>
                  <a:pt x="397" y="1122"/>
                </a:cubicBezTo>
                <a:cubicBezTo>
                  <a:pt x="265" y="1058"/>
                  <a:pt x="265" y="1058"/>
                  <a:pt x="265" y="1058"/>
                </a:cubicBezTo>
                <a:cubicBezTo>
                  <a:pt x="245" y="1048"/>
                  <a:pt x="237" y="1025"/>
                  <a:pt x="246" y="1005"/>
                </a:cubicBezTo>
                <a:cubicBezTo>
                  <a:pt x="277" y="937"/>
                  <a:pt x="277" y="937"/>
                  <a:pt x="277" y="937"/>
                </a:cubicBezTo>
                <a:cubicBezTo>
                  <a:pt x="241" y="906"/>
                  <a:pt x="209" y="871"/>
                  <a:pt x="183" y="831"/>
                </a:cubicBezTo>
                <a:cubicBezTo>
                  <a:pt x="107" y="858"/>
                  <a:pt x="107" y="858"/>
                  <a:pt x="107" y="858"/>
                </a:cubicBezTo>
                <a:cubicBezTo>
                  <a:pt x="103" y="860"/>
                  <a:pt x="98" y="860"/>
                  <a:pt x="94" y="860"/>
                </a:cubicBezTo>
                <a:cubicBezTo>
                  <a:pt x="88" y="860"/>
                  <a:pt x="82" y="859"/>
                  <a:pt x="76" y="856"/>
                </a:cubicBezTo>
                <a:cubicBezTo>
                  <a:pt x="67" y="852"/>
                  <a:pt x="59" y="844"/>
                  <a:pt x="56" y="834"/>
                </a:cubicBezTo>
                <a:cubicBezTo>
                  <a:pt x="7" y="695"/>
                  <a:pt x="7" y="695"/>
                  <a:pt x="7" y="695"/>
                </a:cubicBezTo>
                <a:cubicBezTo>
                  <a:pt x="0" y="675"/>
                  <a:pt x="11" y="652"/>
                  <a:pt x="31" y="644"/>
                </a:cubicBezTo>
                <a:cubicBezTo>
                  <a:pt x="108" y="617"/>
                  <a:pt x="108" y="617"/>
                  <a:pt x="108" y="617"/>
                </a:cubicBezTo>
                <a:cubicBezTo>
                  <a:pt x="104" y="570"/>
                  <a:pt x="106" y="523"/>
                  <a:pt x="116" y="477"/>
                </a:cubicBezTo>
                <a:cubicBezTo>
                  <a:pt x="53" y="447"/>
                  <a:pt x="53" y="447"/>
                  <a:pt x="53" y="447"/>
                </a:cubicBezTo>
                <a:cubicBezTo>
                  <a:pt x="43" y="442"/>
                  <a:pt x="36" y="434"/>
                  <a:pt x="33" y="424"/>
                </a:cubicBezTo>
                <a:cubicBezTo>
                  <a:pt x="29" y="414"/>
                  <a:pt x="30" y="403"/>
                  <a:pt x="34" y="393"/>
                </a:cubicBezTo>
                <a:cubicBezTo>
                  <a:pt x="98" y="261"/>
                  <a:pt x="98" y="261"/>
                  <a:pt x="98" y="261"/>
                </a:cubicBezTo>
                <a:cubicBezTo>
                  <a:pt x="103" y="251"/>
                  <a:pt x="111" y="243"/>
                  <a:pt x="122" y="240"/>
                </a:cubicBezTo>
                <a:cubicBezTo>
                  <a:pt x="126" y="239"/>
                  <a:pt x="130" y="238"/>
                  <a:pt x="134" y="238"/>
                </a:cubicBezTo>
                <a:cubicBezTo>
                  <a:pt x="141" y="238"/>
                  <a:pt x="147" y="239"/>
                  <a:pt x="152" y="242"/>
                </a:cubicBezTo>
                <a:cubicBezTo>
                  <a:pt x="212" y="273"/>
                  <a:pt x="212" y="273"/>
                  <a:pt x="212" y="273"/>
                </a:cubicBezTo>
                <a:cubicBezTo>
                  <a:pt x="212" y="273"/>
                  <a:pt x="212" y="273"/>
                  <a:pt x="212" y="273"/>
                </a:cubicBezTo>
                <a:cubicBezTo>
                  <a:pt x="242" y="236"/>
                  <a:pt x="278" y="204"/>
                  <a:pt x="317" y="178"/>
                </a:cubicBezTo>
                <a:cubicBezTo>
                  <a:pt x="291" y="102"/>
                  <a:pt x="291" y="102"/>
                  <a:pt x="291" y="102"/>
                </a:cubicBezTo>
                <a:cubicBezTo>
                  <a:pt x="283" y="82"/>
                  <a:pt x="294" y="59"/>
                  <a:pt x="315" y="51"/>
                </a:cubicBezTo>
                <a:cubicBezTo>
                  <a:pt x="455" y="2"/>
                  <a:pt x="455" y="2"/>
                  <a:pt x="455" y="2"/>
                </a:cubicBezTo>
                <a:cubicBezTo>
                  <a:pt x="459" y="0"/>
                  <a:pt x="464" y="0"/>
                  <a:pt x="468" y="0"/>
                </a:cubicBezTo>
                <a:cubicBezTo>
                  <a:pt x="485" y="0"/>
                  <a:pt x="500" y="10"/>
                  <a:pt x="506" y="26"/>
                </a:cubicBezTo>
                <a:cubicBezTo>
                  <a:pt x="532" y="101"/>
                  <a:pt x="532" y="101"/>
                  <a:pt x="532" y="101"/>
                </a:cubicBezTo>
                <a:cubicBezTo>
                  <a:pt x="548" y="99"/>
                  <a:pt x="564" y="98"/>
                  <a:pt x="580" y="98"/>
                </a:cubicBezTo>
                <a:cubicBezTo>
                  <a:pt x="612" y="98"/>
                  <a:pt x="644" y="102"/>
                  <a:pt x="675" y="108"/>
                </a:cubicBezTo>
                <a:cubicBezTo>
                  <a:pt x="707" y="41"/>
                  <a:pt x="707" y="41"/>
                  <a:pt x="707" y="41"/>
                </a:cubicBezTo>
                <a:cubicBezTo>
                  <a:pt x="712" y="32"/>
                  <a:pt x="720" y="24"/>
                  <a:pt x="730" y="21"/>
                </a:cubicBezTo>
                <a:cubicBezTo>
                  <a:pt x="734" y="19"/>
                  <a:pt x="739" y="18"/>
                  <a:pt x="743" y="18"/>
                </a:cubicBezTo>
                <a:cubicBezTo>
                  <a:pt x="749" y="18"/>
                  <a:pt x="755" y="20"/>
                  <a:pt x="761" y="22"/>
                </a:cubicBezTo>
                <a:cubicBezTo>
                  <a:pt x="893" y="87"/>
                  <a:pt x="893" y="87"/>
                  <a:pt x="893" y="87"/>
                </a:cubicBezTo>
                <a:cubicBezTo>
                  <a:pt x="913" y="96"/>
                  <a:pt x="921" y="120"/>
                  <a:pt x="912" y="140"/>
                </a:cubicBezTo>
                <a:cubicBezTo>
                  <a:pt x="880" y="206"/>
                  <a:pt x="880" y="206"/>
                  <a:pt x="880" y="206"/>
                </a:cubicBezTo>
                <a:cubicBezTo>
                  <a:pt x="917" y="236"/>
                  <a:pt x="949" y="272"/>
                  <a:pt x="975" y="311"/>
                </a:cubicBezTo>
                <a:cubicBezTo>
                  <a:pt x="1050" y="285"/>
                  <a:pt x="1050" y="285"/>
                  <a:pt x="1050" y="285"/>
                </a:cubicBezTo>
                <a:cubicBezTo>
                  <a:pt x="1055" y="283"/>
                  <a:pt x="1059" y="282"/>
                  <a:pt x="1064" y="282"/>
                </a:cubicBezTo>
                <a:cubicBezTo>
                  <a:pt x="1070" y="282"/>
                  <a:pt x="1076" y="284"/>
                  <a:pt x="1081" y="286"/>
                </a:cubicBezTo>
                <a:cubicBezTo>
                  <a:pt x="1091" y="291"/>
                  <a:pt x="1098" y="299"/>
                  <a:pt x="1102" y="309"/>
                </a:cubicBezTo>
                <a:cubicBezTo>
                  <a:pt x="1150" y="447"/>
                  <a:pt x="1150" y="447"/>
                  <a:pt x="1150" y="447"/>
                </a:cubicBezTo>
                <a:cubicBezTo>
                  <a:pt x="1158" y="468"/>
                  <a:pt x="1147" y="491"/>
                  <a:pt x="1126" y="498"/>
                </a:cubicBezTo>
                <a:cubicBezTo>
                  <a:pt x="1051" y="525"/>
                  <a:pt x="1051" y="525"/>
                  <a:pt x="1051" y="525"/>
                </a:cubicBezTo>
                <a:cubicBezTo>
                  <a:pt x="1055" y="572"/>
                  <a:pt x="1053" y="620"/>
                  <a:pt x="1043" y="667"/>
                </a:cubicBezTo>
                <a:cubicBezTo>
                  <a:pt x="1114" y="702"/>
                  <a:pt x="1114" y="702"/>
                  <a:pt x="1114" y="702"/>
                </a:cubicBezTo>
                <a:cubicBezTo>
                  <a:pt x="1134" y="711"/>
                  <a:pt x="1142" y="735"/>
                  <a:pt x="1133" y="755"/>
                </a:cubicBezTo>
                <a:cubicBezTo>
                  <a:pt x="1070" y="888"/>
                  <a:pt x="1070" y="888"/>
                  <a:pt x="1070" y="888"/>
                </a:cubicBezTo>
                <a:cubicBezTo>
                  <a:pt x="1066" y="897"/>
                  <a:pt x="1058" y="905"/>
                  <a:pt x="1048" y="908"/>
                </a:cubicBezTo>
                <a:cubicBezTo>
                  <a:pt x="1043" y="910"/>
                  <a:pt x="1039" y="910"/>
                  <a:pt x="1034" y="910"/>
                </a:cubicBezTo>
                <a:cubicBezTo>
                  <a:pt x="1028" y="910"/>
                  <a:pt x="1022" y="909"/>
                  <a:pt x="1017" y="907"/>
                </a:cubicBezTo>
                <a:cubicBezTo>
                  <a:pt x="945" y="872"/>
                  <a:pt x="945" y="872"/>
                  <a:pt x="945" y="872"/>
                </a:cubicBezTo>
                <a:cubicBezTo>
                  <a:pt x="915" y="910"/>
                  <a:pt x="879" y="942"/>
                  <a:pt x="838" y="968"/>
                </a:cubicBezTo>
                <a:cubicBezTo>
                  <a:pt x="865" y="1043"/>
                  <a:pt x="865" y="1043"/>
                  <a:pt x="865" y="1043"/>
                </a:cubicBezTo>
                <a:cubicBezTo>
                  <a:pt x="872" y="1063"/>
                  <a:pt x="861" y="1086"/>
                  <a:pt x="840" y="1094"/>
                </a:cubicBezTo>
                <a:cubicBezTo>
                  <a:pt x="701" y="1143"/>
                  <a:pt x="701" y="1143"/>
                  <a:pt x="701" y="1143"/>
                </a:cubicBezTo>
                <a:cubicBezTo>
                  <a:pt x="696" y="1144"/>
                  <a:pt x="692" y="1145"/>
                  <a:pt x="687" y="1145"/>
                </a:cubicBezTo>
                <a:close/>
              </a:path>
            </a:pathLst>
          </a:custGeom>
          <a:solidFill>
            <a:schemeClr val="tx1">
              <a:alpha val="27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Freeform 32"/>
          <p:cNvSpPr>
            <a:spLocks/>
          </p:cNvSpPr>
          <p:nvPr/>
        </p:nvSpPr>
        <p:spPr bwMode="auto">
          <a:xfrm>
            <a:off x="6870895" y="969168"/>
            <a:ext cx="430043" cy="425275"/>
          </a:xfrm>
          <a:custGeom>
            <a:avLst/>
            <a:gdLst>
              <a:gd name="T0" fmla="*/ 650 w 1158"/>
              <a:gd name="T1" fmla="*/ 1119 h 1145"/>
              <a:gd name="T2" fmla="*/ 579 w 1158"/>
              <a:gd name="T3" fmla="*/ 1045 h 1145"/>
              <a:gd name="T4" fmla="*/ 450 w 1158"/>
              <a:gd name="T5" fmla="*/ 1102 h 1145"/>
              <a:gd name="T6" fmla="*/ 414 w 1158"/>
              <a:gd name="T7" fmla="*/ 1126 h 1145"/>
              <a:gd name="T8" fmla="*/ 265 w 1158"/>
              <a:gd name="T9" fmla="*/ 1058 h 1145"/>
              <a:gd name="T10" fmla="*/ 277 w 1158"/>
              <a:gd name="T11" fmla="*/ 937 h 1145"/>
              <a:gd name="T12" fmla="*/ 107 w 1158"/>
              <a:gd name="T13" fmla="*/ 858 h 1145"/>
              <a:gd name="T14" fmla="*/ 76 w 1158"/>
              <a:gd name="T15" fmla="*/ 856 h 1145"/>
              <a:gd name="T16" fmla="*/ 7 w 1158"/>
              <a:gd name="T17" fmla="*/ 695 h 1145"/>
              <a:gd name="T18" fmla="*/ 108 w 1158"/>
              <a:gd name="T19" fmla="*/ 617 h 1145"/>
              <a:gd name="T20" fmla="*/ 53 w 1158"/>
              <a:gd name="T21" fmla="*/ 447 h 1145"/>
              <a:gd name="T22" fmla="*/ 34 w 1158"/>
              <a:gd name="T23" fmla="*/ 393 h 1145"/>
              <a:gd name="T24" fmla="*/ 122 w 1158"/>
              <a:gd name="T25" fmla="*/ 240 h 1145"/>
              <a:gd name="T26" fmla="*/ 152 w 1158"/>
              <a:gd name="T27" fmla="*/ 242 h 1145"/>
              <a:gd name="T28" fmla="*/ 212 w 1158"/>
              <a:gd name="T29" fmla="*/ 273 h 1145"/>
              <a:gd name="T30" fmla="*/ 291 w 1158"/>
              <a:gd name="T31" fmla="*/ 102 h 1145"/>
              <a:gd name="T32" fmla="*/ 455 w 1158"/>
              <a:gd name="T33" fmla="*/ 2 h 1145"/>
              <a:gd name="T34" fmla="*/ 506 w 1158"/>
              <a:gd name="T35" fmla="*/ 26 h 1145"/>
              <a:gd name="T36" fmla="*/ 580 w 1158"/>
              <a:gd name="T37" fmla="*/ 98 h 1145"/>
              <a:gd name="T38" fmla="*/ 707 w 1158"/>
              <a:gd name="T39" fmla="*/ 41 h 1145"/>
              <a:gd name="T40" fmla="*/ 743 w 1158"/>
              <a:gd name="T41" fmla="*/ 18 h 1145"/>
              <a:gd name="T42" fmla="*/ 893 w 1158"/>
              <a:gd name="T43" fmla="*/ 87 h 1145"/>
              <a:gd name="T44" fmla="*/ 880 w 1158"/>
              <a:gd name="T45" fmla="*/ 206 h 1145"/>
              <a:gd name="T46" fmla="*/ 1050 w 1158"/>
              <a:gd name="T47" fmla="*/ 285 h 1145"/>
              <a:gd name="T48" fmla="*/ 1081 w 1158"/>
              <a:gd name="T49" fmla="*/ 286 h 1145"/>
              <a:gd name="T50" fmla="*/ 1150 w 1158"/>
              <a:gd name="T51" fmla="*/ 447 h 1145"/>
              <a:gd name="T52" fmla="*/ 1051 w 1158"/>
              <a:gd name="T53" fmla="*/ 525 h 1145"/>
              <a:gd name="T54" fmla="*/ 1114 w 1158"/>
              <a:gd name="T55" fmla="*/ 702 h 1145"/>
              <a:gd name="T56" fmla="*/ 1070 w 1158"/>
              <a:gd name="T57" fmla="*/ 888 h 1145"/>
              <a:gd name="T58" fmla="*/ 1034 w 1158"/>
              <a:gd name="T59" fmla="*/ 910 h 1145"/>
              <a:gd name="T60" fmla="*/ 945 w 1158"/>
              <a:gd name="T61" fmla="*/ 872 h 1145"/>
              <a:gd name="T62" fmla="*/ 865 w 1158"/>
              <a:gd name="T63" fmla="*/ 1043 h 1145"/>
              <a:gd name="T64" fmla="*/ 701 w 1158"/>
              <a:gd name="T65" fmla="*/ 1143 h 1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58" h="1145">
                <a:moveTo>
                  <a:pt x="687" y="1145"/>
                </a:moveTo>
                <a:cubicBezTo>
                  <a:pt x="671" y="1145"/>
                  <a:pt x="655" y="1135"/>
                  <a:pt x="650" y="1119"/>
                </a:cubicBezTo>
                <a:cubicBezTo>
                  <a:pt x="623" y="1043"/>
                  <a:pt x="623" y="1043"/>
                  <a:pt x="623" y="1043"/>
                </a:cubicBezTo>
                <a:cubicBezTo>
                  <a:pt x="609" y="1045"/>
                  <a:pt x="594" y="1045"/>
                  <a:pt x="579" y="1045"/>
                </a:cubicBezTo>
                <a:cubicBezTo>
                  <a:pt x="546" y="1045"/>
                  <a:pt x="514" y="1042"/>
                  <a:pt x="481" y="1035"/>
                </a:cubicBezTo>
                <a:cubicBezTo>
                  <a:pt x="450" y="1102"/>
                  <a:pt x="450" y="1102"/>
                  <a:pt x="450" y="1102"/>
                </a:cubicBezTo>
                <a:cubicBezTo>
                  <a:pt x="446" y="1112"/>
                  <a:pt x="438" y="1120"/>
                  <a:pt x="428" y="1123"/>
                </a:cubicBezTo>
                <a:cubicBezTo>
                  <a:pt x="423" y="1125"/>
                  <a:pt x="419" y="1126"/>
                  <a:pt x="414" y="1126"/>
                </a:cubicBezTo>
                <a:cubicBezTo>
                  <a:pt x="408" y="1126"/>
                  <a:pt x="402" y="1124"/>
                  <a:pt x="397" y="1122"/>
                </a:cubicBezTo>
                <a:cubicBezTo>
                  <a:pt x="265" y="1058"/>
                  <a:pt x="265" y="1058"/>
                  <a:pt x="265" y="1058"/>
                </a:cubicBezTo>
                <a:cubicBezTo>
                  <a:pt x="245" y="1048"/>
                  <a:pt x="237" y="1025"/>
                  <a:pt x="246" y="1005"/>
                </a:cubicBezTo>
                <a:cubicBezTo>
                  <a:pt x="277" y="937"/>
                  <a:pt x="277" y="937"/>
                  <a:pt x="277" y="937"/>
                </a:cubicBezTo>
                <a:cubicBezTo>
                  <a:pt x="241" y="906"/>
                  <a:pt x="209" y="871"/>
                  <a:pt x="183" y="831"/>
                </a:cubicBezTo>
                <a:cubicBezTo>
                  <a:pt x="107" y="858"/>
                  <a:pt x="107" y="858"/>
                  <a:pt x="107" y="858"/>
                </a:cubicBezTo>
                <a:cubicBezTo>
                  <a:pt x="103" y="860"/>
                  <a:pt x="98" y="860"/>
                  <a:pt x="94" y="860"/>
                </a:cubicBezTo>
                <a:cubicBezTo>
                  <a:pt x="88" y="860"/>
                  <a:pt x="82" y="859"/>
                  <a:pt x="76" y="856"/>
                </a:cubicBezTo>
                <a:cubicBezTo>
                  <a:pt x="67" y="852"/>
                  <a:pt x="59" y="844"/>
                  <a:pt x="56" y="834"/>
                </a:cubicBezTo>
                <a:cubicBezTo>
                  <a:pt x="7" y="695"/>
                  <a:pt x="7" y="695"/>
                  <a:pt x="7" y="695"/>
                </a:cubicBezTo>
                <a:cubicBezTo>
                  <a:pt x="0" y="675"/>
                  <a:pt x="11" y="652"/>
                  <a:pt x="31" y="644"/>
                </a:cubicBezTo>
                <a:cubicBezTo>
                  <a:pt x="108" y="617"/>
                  <a:pt x="108" y="617"/>
                  <a:pt x="108" y="617"/>
                </a:cubicBezTo>
                <a:cubicBezTo>
                  <a:pt x="104" y="570"/>
                  <a:pt x="106" y="523"/>
                  <a:pt x="116" y="477"/>
                </a:cubicBezTo>
                <a:cubicBezTo>
                  <a:pt x="53" y="447"/>
                  <a:pt x="53" y="447"/>
                  <a:pt x="53" y="447"/>
                </a:cubicBezTo>
                <a:cubicBezTo>
                  <a:pt x="43" y="442"/>
                  <a:pt x="36" y="434"/>
                  <a:pt x="33" y="424"/>
                </a:cubicBezTo>
                <a:cubicBezTo>
                  <a:pt x="29" y="414"/>
                  <a:pt x="30" y="403"/>
                  <a:pt x="34" y="393"/>
                </a:cubicBezTo>
                <a:cubicBezTo>
                  <a:pt x="98" y="261"/>
                  <a:pt x="98" y="261"/>
                  <a:pt x="98" y="261"/>
                </a:cubicBezTo>
                <a:cubicBezTo>
                  <a:pt x="103" y="251"/>
                  <a:pt x="111" y="243"/>
                  <a:pt x="122" y="240"/>
                </a:cubicBezTo>
                <a:cubicBezTo>
                  <a:pt x="126" y="239"/>
                  <a:pt x="130" y="238"/>
                  <a:pt x="134" y="238"/>
                </a:cubicBezTo>
                <a:cubicBezTo>
                  <a:pt x="141" y="238"/>
                  <a:pt x="147" y="239"/>
                  <a:pt x="152" y="242"/>
                </a:cubicBezTo>
                <a:cubicBezTo>
                  <a:pt x="212" y="273"/>
                  <a:pt x="212" y="273"/>
                  <a:pt x="212" y="273"/>
                </a:cubicBezTo>
                <a:cubicBezTo>
                  <a:pt x="212" y="273"/>
                  <a:pt x="212" y="273"/>
                  <a:pt x="212" y="273"/>
                </a:cubicBezTo>
                <a:cubicBezTo>
                  <a:pt x="242" y="236"/>
                  <a:pt x="278" y="204"/>
                  <a:pt x="317" y="178"/>
                </a:cubicBezTo>
                <a:cubicBezTo>
                  <a:pt x="291" y="102"/>
                  <a:pt x="291" y="102"/>
                  <a:pt x="291" y="102"/>
                </a:cubicBezTo>
                <a:cubicBezTo>
                  <a:pt x="283" y="82"/>
                  <a:pt x="294" y="59"/>
                  <a:pt x="315" y="51"/>
                </a:cubicBezTo>
                <a:cubicBezTo>
                  <a:pt x="455" y="2"/>
                  <a:pt x="455" y="2"/>
                  <a:pt x="455" y="2"/>
                </a:cubicBezTo>
                <a:cubicBezTo>
                  <a:pt x="459" y="0"/>
                  <a:pt x="464" y="0"/>
                  <a:pt x="468" y="0"/>
                </a:cubicBezTo>
                <a:cubicBezTo>
                  <a:pt x="485" y="0"/>
                  <a:pt x="500" y="10"/>
                  <a:pt x="506" y="26"/>
                </a:cubicBezTo>
                <a:cubicBezTo>
                  <a:pt x="532" y="101"/>
                  <a:pt x="532" y="101"/>
                  <a:pt x="532" y="101"/>
                </a:cubicBezTo>
                <a:cubicBezTo>
                  <a:pt x="548" y="99"/>
                  <a:pt x="564" y="98"/>
                  <a:pt x="580" y="98"/>
                </a:cubicBezTo>
                <a:cubicBezTo>
                  <a:pt x="612" y="98"/>
                  <a:pt x="644" y="102"/>
                  <a:pt x="675" y="108"/>
                </a:cubicBezTo>
                <a:cubicBezTo>
                  <a:pt x="707" y="41"/>
                  <a:pt x="707" y="41"/>
                  <a:pt x="707" y="41"/>
                </a:cubicBezTo>
                <a:cubicBezTo>
                  <a:pt x="712" y="32"/>
                  <a:pt x="720" y="24"/>
                  <a:pt x="730" y="21"/>
                </a:cubicBezTo>
                <a:cubicBezTo>
                  <a:pt x="734" y="19"/>
                  <a:pt x="739" y="18"/>
                  <a:pt x="743" y="18"/>
                </a:cubicBezTo>
                <a:cubicBezTo>
                  <a:pt x="749" y="18"/>
                  <a:pt x="755" y="20"/>
                  <a:pt x="761" y="22"/>
                </a:cubicBezTo>
                <a:cubicBezTo>
                  <a:pt x="893" y="87"/>
                  <a:pt x="893" y="87"/>
                  <a:pt x="893" y="87"/>
                </a:cubicBezTo>
                <a:cubicBezTo>
                  <a:pt x="913" y="96"/>
                  <a:pt x="921" y="120"/>
                  <a:pt x="912" y="140"/>
                </a:cubicBezTo>
                <a:cubicBezTo>
                  <a:pt x="880" y="206"/>
                  <a:pt x="880" y="206"/>
                  <a:pt x="880" y="206"/>
                </a:cubicBezTo>
                <a:cubicBezTo>
                  <a:pt x="917" y="236"/>
                  <a:pt x="949" y="272"/>
                  <a:pt x="975" y="311"/>
                </a:cubicBezTo>
                <a:cubicBezTo>
                  <a:pt x="1050" y="285"/>
                  <a:pt x="1050" y="285"/>
                  <a:pt x="1050" y="285"/>
                </a:cubicBezTo>
                <a:cubicBezTo>
                  <a:pt x="1055" y="283"/>
                  <a:pt x="1059" y="282"/>
                  <a:pt x="1064" y="282"/>
                </a:cubicBezTo>
                <a:cubicBezTo>
                  <a:pt x="1070" y="282"/>
                  <a:pt x="1076" y="284"/>
                  <a:pt x="1081" y="286"/>
                </a:cubicBezTo>
                <a:cubicBezTo>
                  <a:pt x="1091" y="291"/>
                  <a:pt x="1098" y="299"/>
                  <a:pt x="1102" y="309"/>
                </a:cubicBezTo>
                <a:cubicBezTo>
                  <a:pt x="1150" y="447"/>
                  <a:pt x="1150" y="447"/>
                  <a:pt x="1150" y="447"/>
                </a:cubicBezTo>
                <a:cubicBezTo>
                  <a:pt x="1158" y="468"/>
                  <a:pt x="1147" y="491"/>
                  <a:pt x="1126" y="498"/>
                </a:cubicBezTo>
                <a:cubicBezTo>
                  <a:pt x="1051" y="525"/>
                  <a:pt x="1051" y="525"/>
                  <a:pt x="1051" y="525"/>
                </a:cubicBezTo>
                <a:cubicBezTo>
                  <a:pt x="1055" y="572"/>
                  <a:pt x="1053" y="620"/>
                  <a:pt x="1043" y="667"/>
                </a:cubicBezTo>
                <a:cubicBezTo>
                  <a:pt x="1114" y="702"/>
                  <a:pt x="1114" y="702"/>
                  <a:pt x="1114" y="702"/>
                </a:cubicBezTo>
                <a:cubicBezTo>
                  <a:pt x="1134" y="711"/>
                  <a:pt x="1142" y="735"/>
                  <a:pt x="1133" y="755"/>
                </a:cubicBezTo>
                <a:cubicBezTo>
                  <a:pt x="1070" y="888"/>
                  <a:pt x="1070" y="888"/>
                  <a:pt x="1070" y="888"/>
                </a:cubicBezTo>
                <a:cubicBezTo>
                  <a:pt x="1066" y="897"/>
                  <a:pt x="1058" y="905"/>
                  <a:pt x="1048" y="908"/>
                </a:cubicBezTo>
                <a:cubicBezTo>
                  <a:pt x="1043" y="910"/>
                  <a:pt x="1039" y="910"/>
                  <a:pt x="1034" y="910"/>
                </a:cubicBezTo>
                <a:cubicBezTo>
                  <a:pt x="1028" y="910"/>
                  <a:pt x="1022" y="909"/>
                  <a:pt x="1017" y="907"/>
                </a:cubicBezTo>
                <a:cubicBezTo>
                  <a:pt x="945" y="872"/>
                  <a:pt x="945" y="872"/>
                  <a:pt x="945" y="872"/>
                </a:cubicBezTo>
                <a:cubicBezTo>
                  <a:pt x="915" y="910"/>
                  <a:pt x="879" y="942"/>
                  <a:pt x="838" y="968"/>
                </a:cubicBezTo>
                <a:cubicBezTo>
                  <a:pt x="865" y="1043"/>
                  <a:pt x="865" y="1043"/>
                  <a:pt x="865" y="1043"/>
                </a:cubicBezTo>
                <a:cubicBezTo>
                  <a:pt x="872" y="1063"/>
                  <a:pt x="861" y="1086"/>
                  <a:pt x="840" y="1094"/>
                </a:cubicBezTo>
                <a:cubicBezTo>
                  <a:pt x="701" y="1143"/>
                  <a:pt x="701" y="1143"/>
                  <a:pt x="701" y="1143"/>
                </a:cubicBezTo>
                <a:cubicBezTo>
                  <a:pt x="696" y="1144"/>
                  <a:pt x="692" y="1145"/>
                  <a:pt x="687" y="1145"/>
                </a:cubicBezTo>
                <a:close/>
              </a:path>
            </a:pathLst>
          </a:custGeom>
          <a:solidFill>
            <a:schemeClr val="tx1">
              <a:alpha val="27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Freeform 32"/>
          <p:cNvSpPr>
            <a:spLocks/>
          </p:cNvSpPr>
          <p:nvPr/>
        </p:nvSpPr>
        <p:spPr bwMode="auto">
          <a:xfrm>
            <a:off x="7694224" y="3862452"/>
            <a:ext cx="430043" cy="425275"/>
          </a:xfrm>
          <a:custGeom>
            <a:avLst/>
            <a:gdLst>
              <a:gd name="T0" fmla="*/ 650 w 1158"/>
              <a:gd name="T1" fmla="*/ 1119 h 1145"/>
              <a:gd name="T2" fmla="*/ 579 w 1158"/>
              <a:gd name="T3" fmla="*/ 1045 h 1145"/>
              <a:gd name="T4" fmla="*/ 450 w 1158"/>
              <a:gd name="T5" fmla="*/ 1102 h 1145"/>
              <a:gd name="T6" fmla="*/ 414 w 1158"/>
              <a:gd name="T7" fmla="*/ 1126 h 1145"/>
              <a:gd name="T8" fmla="*/ 265 w 1158"/>
              <a:gd name="T9" fmla="*/ 1058 h 1145"/>
              <a:gd name="T10" fmla="*/ 277 w 1158"/>
              <a:gd name="T11" fmla="*/ 937 h 1145"/>
              <a:gd name="T12" fmla="*/ 107 w 1158"/>
              <a:gd name="T13" fmla="*/ 858 h 1145"/>
              <a:gd name="T14" fmla="*/ 76 w 1158"/>
              <a:gd name="T15" fmla="*/ 856 h 1145"/>
              <a:gd name="T16" fmla="*/ 7 w 1158"/>
              <a:gd name="T17" fmla="*/ 695 h 1145"/>
              <a:gd name="T18" fmla="*/ 108 w 1158"/>
              <a:gd name="T19" fmla="*/ 617 h 1145"/>
              <a:gd name="T20" fmla="*/ 53 w 1158"/>
              <a:gd name="T21" fmla="*/ 447 h 1145"/>
              <a:gd name="T22" fmla="*/ 34 w 1158"/>
              <a:gd name="T23" fmla="*/ 393 h 1145"/>
              <a:gd name="T24" fmla="*/ 122 w 1158"/>
              <a:gd name="T25" fmla="*/ 240 h 1145"/>
              <a:gd name="T26" fmla="*/ 152 w 1158"/>
              <a:gd name="T27" fmla="*/ 242 h 1145"/>
              <a:gd name="T28" fmla="*/ 212 w 1158"/>
              <a:gd name="T29" fmla="*/ 273 h 1145"/>
              <a:gd name="T30" fmla="*/ 291 w 1158"/>
              <a:gd name="T31" fmla="*/ 102 h 1145"/>
              <a:gd name="T32" fmla="*/ 455 w 1158"/>
              <a:gd name="T33" fmla="*/ 2 h 1145"/>
              <a:gd name="T34" fmla="*/ 506 w 1158"/>
              <a:gd name="T35" fmla="*/ 26 h 1145"/>
              <a:gd name="T36" fmla="*/ 580 w 1158"/>
              <a:gd name="T37" fmla="*/ 98 h 1145"/>
              <a:gd name="T38" fmla="*/ 707 w 1158"/>
              <a:gd name="T39" fmla="*/ 41 h 1145"/>
              <a:gd name="T40" fmla="*/ 743 w 1158"/>
              <a:gd name="T41" fmla="*/ 18 h 1145"/>
              <a:gd name="T42" fmla="*/ 893 w 1158"/>
              <a:gd name="T43" fmla="*/ 87 h 1145"/>
              <a:gd name="T44" fmla="*/ 880 w 1158"/>
              <a:gd name="T45" fmla="*/ 206 h 1145"/>
              <a:gd name="T46" fmla="*/ 1050 w 1158"/>
              <a:gd name="T47" fmla="*/ 285 h 1145"/>
              <a:gd name="T48" fmla="*/ 1081 w 1158"/>
              <a:gd name="T49" fmla="*/ 286 h 1145"/>
              <a:gd name="T50" fmla="*/ 1150 w 1158"/>
              <a:gd name="T51" fmla="*/ 447 h 1145"/>
              <a:gd name="T52" fmla="*/ 1051 w 1158"/>
              <a:gd name="T53" fmla="*/ 525 h 1145"/>
              <a:gd name="T54" fmla="*/ 1114 w 1158"/>
              <a:gd name="T55" fmla="*/ 702 h 1145"/>
              <a:gd name="T56" fmla="*/ 1070 w 1158"/>
              <a:gd name="T57" fmla="*/ 888 h 1145"/>
              <a:gd name="T58" fmla="*/ 1034 w 1158"/>
              <a:gd name="T59" fmla="*/ 910 h 1145"/>
              <a:gd name="T60" fmla="*/ 945 w 1158"/>
              <a:gd name="T61" fmla="*/ 872 h 1145"/>
              <a:gd name="T62" fmla="*/ 865 w 1158"/>
              <a:gd name="T63" fmla="*/ 1043 h 1145"/>
              <a:gd name="T64" fmla="*/ 701 w 1158"/>
              <a:gd name="T65" fmla="*/ 1143 h 1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58" h="1145">
                <a:moveTo>
                  <a:pt x="687" y="1145"/>
                </a:moveTo>
                <a:cubicBezTo>
                  <a:pt x="671" y="1145"/>
                  <a:pt x="655" y="1135"/>
                  <a:pt x="650" y="1119"/>
                </a:cubicBezTo>
                <a:cubicBezTo>
                  <a:pt x="623" y="1043"/>
                  <a:pt x="623" y="1043"/>
                  <a:pt x="623" y="1043"/>
                </a:cubicBezTo>
                <a:cubicBezTo>
                  <a:pt x="609" y="1045"/>
                  <a:pt x="594" y="1045"/>
                  <a:pt x="579" y="1045"/>
                </a:cubicBezTo>
                <a:cubicBezTo>
                  <a:pt x="546" y="1045"/>
                  <a:pt x="514" y="1042"/>
                  <a:pt x="481" y="1035"/>
                </a:cubicBezTo>
                <a:cubicBezTo>
                  <a:pt x="450" y="1102"/>
                  <a:pt x="450" y="1102"/>
                  <a:pt x="450" y="1102"/>
                </a:cubicBezTo>
                <a:cubicBezTo>
                  <a:pt x="446" y="1112"/>
                  <a:pt x="438" y="1120"/>
                  <a:pt x="428" y="1123"/>
                </a:cubicBezTo>
                <a:cubicBezTo>
                  <a:pt x="423" y="1125"/>
                  <a:pt x="419" y="1126"/>
                  <a:pt x="414" y="1126"/>
                </a:cubicBezTo>
                <a:cubicBezTo>
                  <a:pt x="408" y="1126"/>
                  <a:pt x="402" y="1124"/>
                  <a:pt x="397" y="1122"/>
                </a:cubicBezTo>
                <a:cubicBezTo>
                  <a:pt x="265" y="1058"/>
                  <a:pt x="265" y="1058"/>
                  <a:pt x="265" y="1058"/>
                </a:cubicBezTo>
                <a:cubicBezTo>
                  <a:pt x="245" y="1048"/>
                  <a:pt x="237" y="1025"/>
                  <a:pt x="246" y="1005"/>
                </a:cubicBezTo>
                <a:cubicBezTo>
                  <a:pt x="277" y="937"/>
                  <a:pt x="277" y="937"/>
                  <a:pt x="277" y="937"/>
                </a:cubicBezTo>
                <a:cubicBezTo>
                  <a:pt x="241" y="906"/>
                  <a:pt x="209" y="871"/>
                  <a:pt x="183" y="831"/>
                </a:cubicBezTo>
                <a:cubicBezTo>
                  <a:pt x="107" y="858"/>
                  <a:pt x="107" y="858"/>
                  <a:pt x="107" y="858"/>
                </a:cubicBezTo>
                <a:cubicBezTo>
                  <a:pt x="103" y="860"/>
                  <a:pt x="98" y="860"/>
                  <a:pt x="94" y="860"/>
                </a:cubicBezTo>
                <a:cubicBezTo>
                  <a:pt x="88" y="860"/>
                  <a:pt x="82" y="859"/>
                  <a:pt x="76" y="856"/>
                </a:cubicBezTo>
                <a:cubicBezTo>
                  <a:pt x="67" y="852"/>
                  <a:pt x="59" y="844"/>
                  <a:pt x="56" y="834"/>
                </a:cubicBezTo>
                <a:cubicBezTo>
                  <a:pt x="7" y="695"/>
                  <a:pt x="7" y="695"/>
                  <a:pt x="7" y="695"/>
                </a:cubicBezTo>
                <a:cubicBezTo>
                  <a:pt x="0" y="675"/>
                  <a:pt x="11" y="652"/>
                  <a:pt x="31" y="644"/>
                </a:cubicBezTo>
                <a:cubicBezTo>
                  <a:pt x="108" y="617"/>
                  <a:pt x="108" y="617"/>
                  <a:pt x="108" y="617"/>
                </a:cubicBezTo>
                <a:cubicBezTo>
                  <a:pt x="104" y="570"/>
                  <a:pt x="106" y="523"/>
                  <a:pt x="116" y="477"/>
                </a:cubicBezTo>
                <a:cubicBezTo>
                  <a:pt x="53" y="447"/>
                  <a:pt x="53" y="447"/>
                  <a:pt x="53" y="447"/>
                </a:cubicBezTo>
                <a:cubicBezTo>
                  <a:pt x="43" y="442"/>
                  <a:pt x="36" y="434"/>
                  <a:pt x="33" y="424"/>
                </a:cubicBezTo>
                <a:cubicBezTo>
                  <a:pt x="29" y="414"/>
                  <a:pt x="30" y="403"/>
                  <a:pt x="34" y="393"/>
                </a:cubicBezTo>
                <a:cubicBezTo>
                  <a:pt x="98" y="261"/>
                  <a:pt x="98" y="261"/>
                  <a:pt x="98" y="261"/>
                </a:cubicBezTo>
                <a:cubicBezTo>
                  <a:pt x="103" y="251"/>
                  <a:pt x="111" y="243"/>
                  <a:pt x="122" y="240"/>
                </a:cubicBezTo>
                <a:cubicBezTo>
                  <a:pt x="126" y="239"/>
                  <a:pt x="130" y="238"/>
                  <a:pt x="134" y="238"/>
                </a:cubicBezTo>
                <a:cubicBezTo>
                  <a:pt x="141" y="238"/>
                  <a:pt x="147" y="239"/>
                  <a:pt x="152" y="242"/>
                </a:cubicBezTo>
                <a:cubicBezTo>
                  <a:pt x="212" y="273"/>
                  <a:pt x="212" y="273"/>
                  <a:pt x="212" y="273"/>
                </a:cubicBezTo>
                <a:cubicBezTo>
                  <a:pt x="212" y="273"/>
                  <a:pt x="212" y="273"/>
                  <a:pt x="212" y="273"/>
                </a:cubicBezTo>
                <a:cubicBezTo>
                  <a:pt x="242" y="236"/>
                  <a:pt x="278" y="204"/>
                  <a:pt x="317" y="178"/>
                </a:cubicBezTo>
                <a:cubicBezTo>
                  <a:pt x="291" y="102"/>
                  <a:pt x="291" y="102"/>
                  <a:pt x="291" y="102"/>
                </a:cubicBezTo>
                <a:cubicBezTo>
                  <a:pt x="283" y="82"/>
                  <a:pt x="294" y="59"/>
                  <a:pt x="315" y="51"/>
                </a:cubicBezTo>
                <a:cubicBezTo>
                  <a:pt x="455" y="2"/>
                  <a:pt x="455" y="2"/>
                  <a:pt x="455" y="2"/>
                </a:cubicBezTo>
                <a:cubicBezTo>
                  <a:pt x="459" y="0"/>
                  <a:pt x="464" y="0"/>
                  <a:pt x="468" y="0"/>
                </a:cubicBezTo>
                <a:cubicBezTo>
                  <a:pt x="485" y="0"/>
                  <a:pt x="500" y="10"/>
                  <a:pt x="506" y="26"/>
                </a:cubicBezTo>
                <a:cubicBezTo>
                  <a:pt x="532" y="101"/>
                  <a:pt x="532" y="101"/>
                  <a:pt x="532" y="101"/>
                </a:cubicBezTo>
                <a:cubicBezTo>
                  <a:pt x="548" y="99"/>
                  <a:pt x="564" y="98"/>
                  <a:pt x="580" y="98"/>
                </a:cubicBezTo>
                <a:cubicBezTo>
                  <a:pt x="612" y="98"/>
                  <a:pt x="644" y="102"/>
                  <a:pt x="675" y="108"/>
                </a:cubicBezTo>
                <a:cubicBezTo>
                  <a:pt x="707" y="41"/>
                  <a:pt x="707" y="41"/>
                  <a:pt x="707" y="41"/>
                </a:cubicBezTo>
                <a:cubicBezTo>
                  <a:pt x="712" y="32"/>
                  <a:pt x="720" y="24"/>
                  <a:pt x="730" y="21"/>
                </a:cubicBezTo>
                <a:cubicBezTo>
                  <a:pt x="734" y="19"/>
                  <a:pt x="739" y="18"/>
                  <a:pt x="743" y="18"/>
                </a:cubicBezTo>
                <a:cubicBezTo>
                  <a:pt x="749" y="18"/>
                  <a:pt x="755" y="20"/>
                  <a:pt x="761" y="22"/>
                </a:cubicBezTo>
                <a:cubicBezTo>
                  <a:pt x="893" y="87"/>
                  <a:pt x="893" y="87"/>
                  <a:pt x="893" y="87"/>
                </a:cubicBezTo>
                <a:cubicBezTo>
                  <a:pt x="913" y="96"/>
                  <a:pt x="921" y="120"/>
                  <a:pt x="912" y="140"/>
                </a:cubicBezTo>
                <a:cubicBezTo>
                  <a:pt x="880" y="206"/>
                  <a:pt x="880" y="206"/>
                  <a:pt x="880" y="206"/>
                </a:cubicBezTo>
                <a:cubicBezTo>
                  <a:pt x="917" y="236"/>
                  <a:pt x="949" y="272"/>
                  <a:pt x="975" y="311"/>
                </a:cubicBezTo>
                <a:cubicBezTo>
                  <a:pt x="1050" y="285"/>
                  <a:pt x="1050" y="285"/>
                  <a:pt x="1050" y="285"/>
                </a:cubicBezTo>
                <a:cubicBezTo>
                  <a:pt x="1055" y="283"/>
                  <a:pt x="1059" y="282"/>
                  <a:pt x="1064" y="282"/>
                </a:cubicBezTo>
                <a:cubicBezTo>
                  <a:pt x="1070" y="282"/>
                  <a:pt x="1076" y="284"/>
                  <a:pt x="1081" y="286"/>
                </a:cubicBezTo>
                <a:cubicBezTo>
                  <a:pt x="1091" y="291"/>
                  <a:pt x="1098" y="299"/>
                  <a:pt x="1102" y="309"/>
                </a:cubicBezTo>
                <a:cubicBezTo>
                  <a:pt x="1150" y="447"/>
                  <a:pt x="1150" y="447"/>
                  <a:pt x="1150" y="447"/>
                </a:cubicBezTo>
                <a:cubicBezTo>
                  <a:pt x="1158" y="468"/>
                  <a:pt x="1147" y="491"/>
                  <a:pt x="1126" y="498"/>
                </a:cubicBezTo>
                <a:cubicBezTo>
                  <a:pt x="1051" y="525"/>
                  <a:pt x="1051" y="525"/>
                  <a:pt x="1051" y="525"/>
                </a:cubicBezTo>
                <a:cubicBezTo>
                  <a:pt x="1055" y="572"/>
                  <a:pt x="1053" y="620"/>
                  <a:pt x="1043" y="667"/>
                </a:cubicBezTo>
                <a:cubicBezTo>
                  <a:pt x="1114" y="702"/>
                  <a:pt x="1114" y="702"/>
                  <a:pt x="1114" y="702"/>
                </a:cubicBezTo>
                <a:cubicBezTo>
                  <a:pt x="1134" y="711"/>
                  <a:pt x="1142" y="735"/>
                  <a:pt x="1133" y="755"/>
                </a:cubicBezTo>
                <a:cubicBezTo>
                  <a:pt x="1070" y="888"/>
                  <a:pt x="1070" y="888"/>
                  <a:pt x="1070" y="888"/>
                </a:cubicBezTo>
                <a:cubicBezTo>
                  <a:pt x="1066" y="897"/>
                  <a:pt x="1058" y="905"/>
                  <a:pt x="1048" y="908"/>
                </a:cubicBezTo>
                <a:cubicBezTo>
                  <a:pt x="1043" y="910"/>
                  <a:pt x="1039" y="910"/>
                  <a:pt x="1034" y="910"/>
                </a:cubicBezTo>
                <a:cubicBezTo>
                  <a:pt x="1028" y="910"/>
                  <a:pt x="1022" y="909"/>
                  <a:pt x="1017" y="907"/>
                </a:cubicBezTo>
                <a:cubicBezTo>
                  <a:pt x="945" y="872"/>
                  <a:pt x="945" y="872"/>
                  <a:pt x="945" y="872"/>
                </a:cubicBezTo>
                <a:cubicBezTo>
                  <a:pt x="915" y="910"/>
                  <a:pt x="879" y="942"/>
                  <a:pt x="838" y="968"/>
                </a:cubicBezTo>
                <a:cubicBezTo>
                  <a:pt x="865" y="1043"/>
                  <a:pt x="865" y="1043"/>
                  <a:pt x="865" y="1043"/>
                </a:cubicBezTo>
                <a:cubicBezTo>
                  <a:pt x="872" y="1063"/>
                  <a:pt x="861" y="1086"/>
                  <a:pt x="840" y="1094"/>
                </a:cubicBezTo>
                <a:cubicBezTo>
                  <a:pt x="701" y="1143"/>
                  <a:pt x="701" y="1143"/>
                  <a:pt x="701" y="1143"/>
                </a:cubicBezTo>
                <a:cubicBezTo>
                  <a:pt x="696" y="1144"/>
                  <a:pt x="692" y="1145"/>
                  <a:pt x="687" y="1145"/>
                </a:cubicBezTo>
                <a:close/>
              </a:path>
            </a:pathLst>
          </a:custGeom>
          <a:solidFill>
            <a:schemeClr val="tx1">
              <a:alpha val="27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4" name="Group 63"/>
          <p:cNvGrpSpPr/>
          <p:nvPr/>
        </p:nvGrpSpPr>
        <p:grpSpPr>
          <a:xfrm>
            <a:off x="5354829" y="2667349"/>
            <a:ext cx="583174" cy="583174"/>
            <a:chOff x="5217884" y="2057316"/>
            <a:chExt cx="583174" cy="583174"/>
          </a:xfrm>
        </p:grpSpPr>
        <p:sp>
          <p:nvSpPr>
            <p:cNvPr id="65" name="Oval 64"/>
            <p:cNvSpPr>
              <a:spLocks noChangeAspect="1"/>
            </p:cNvSpPr>
            <p:nvPr/>
          </p:nvSpPr>
          <p:spPr>
            <a:xfrm>
              <a:off x="5217884" y="2057316"/>
              <a:ext cx="583174" cy="583174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Freeform 32"/>
            <p:cNvSpPr>
              <a:spLocks/>
            </p:cNvSpPr>
            <p:nvPr/>
          </p:nvSpPr>
          <p:spPr bwMode="auto">
            <a:xfrm>
              <a:off x="5343350" y="2184624"/>
              <a:ext cx="332242" cy="328558"/>
            </a:xfrm>
            <a:custGeom>
              <a:avLst/>
              <a:gdLst>
                <a:gd name="T0" fmla="*/ 650 w 1158"/>
                <a:gd name="T1" fmla="*/ 1119 h 1145"/>
                <a:gd name="T2" fmla="*/ 579 w 1158"/>
                <a:gd name="T3" fmla="*/ 1045 h 1145"/>
                <a:gd name="T4" fmla="*/ 450 w 1158"/>
                <a:gd name="T5" fmla="*/ 1102 h 1145"/>
                <a:gd name="T6" fmla="*/ 414 w 1158"/>
                <a:gd name="T7" fmla="*/ 1126 h 1145"/>
                <a:gd name="T8" fmla="*/ 265 w 1158"/>
                <a:gd name="T9" fmla="*/ 1058 h 1145"/>
                <a:gd name="T10" fmla="*/ 277 w 1158"/>
                <a:gd name="T11" fmla="*/ 937 h 1145"/>
                <a:gd name="T12" fmla="*/ 107 w 1158"/>
                <a:gd name="T13" fmla="*/ 858 h 1145"/>
                <a:gd name="T14" fmla="*/ 76 w 1158"/>
                <a:gd name="T15" fmla="*/ 856 h 1145"/>
                <a:gd name="T16" fmla="*/ 7 w 1158"/>
                <a:gd name="T17" fmla="*/ 695 h 1145"/>
                <a:gd name="T18" fmla="*/ 108 w 1158"/>
                <a:gd name="T19" fmla="*/ 617 h 1145"/>
                <a:gd name="T20" fmla="*/ 53 w 1158"/>
                <a:gd name="T21" fmla="*/ 447 h 1145"/>
                <a:gd name="T22" fmla="*/ 34 w 1158"/>
                <a:gd name="T23" fmla="*/ 393 h 1145"/>
                <a:gd name="T24" fmla="*/ 122 w 1158"/>
                <a:gd name="T25" fmla="*/ 240 h 1145"/>
                <a:gd name="T26" fmla="*/ 152 w 1158"/>
                <a:gd name="T27" fmla="*/ 242 h 1145"/>
                <a:gd name="T28" fmla="*/ 212 w 1158"/>
                <a:gd name="T29" fmla="*/ 273 h 1145"/>
                <a:gd name="T30" fmla="*/ 291 w 1158"/>
                <a:gd name="T31" fmla="*/ 102 h 1145"/>
                <a:gd name="T32" fmla="*/ 455 w 1158"/>
                <a:gd name="T33" fmla="*/ 2 h 1145"/>
                <a:gd name="T34" fmla="*/ 506 w 1158"/>
                <a:gd name="T35" fmla="*/ 26 h 1145"/>
                <a:gd name="T36" fmla="*/ 580 w 1158"/>
                <a:gd name="T37" fmla="*/ 98 h 1145"/>
                <a:gd name="T38" fmla="*/ 707 w 1158"/>
                <a:gd name="T39" fmla="*/ 41 h 1145"/>
                <a:gd name="T40" fmla="*/ 743 w 1158"/>
                <a:gd name="T41" fmla="*/ 18 h 1145"/>
                <a:gd name="T42" fmla="*/ 893 w 1158"/>
                <a:gd name="T43" fmla="*/ 87 h 1145"/>
                <a:gd name="T44" fmla="*/ 880 w 1158"/>
                <a:gd name="T45" fmla="*/ 206 h 1145"/>
                <a:gd name="T46" fmla="*/ 1050 w 1158"/>
                <a:gd name="T47" fmla="*/ 285 h 1145"/>
                <a:gd name="T48" fmla="*/ 1081 w 1158"/>
                <a:gd name="T49" fmla="*/ 286 h 1145"/>
                <a:gd name="T50" fmla="*/ 1150 w 1158"/>
                <a:gd name="T51" fmla="*/ 447 h 1145"/>
                <a:gd name="T52" fmla="*/ 1051 w 1158"/>
                <a:gd name="T53" fmla="*/ 525 h 1145"/>
                <a:gd name="T54" fmla="*/ 1114 w 1158"/>
                <a:gd name="T55" fmla="*/ 702 h 1145"/>
                <a:gd name="T56" fmla="*/ 1070 w 1158"/>
                <a:gd name="T57" fmla="*/ 888 h 1145"/>
                <a:gd name="T58" fmla="*/ 1034 w 1158"/>
                <a:gd name="T59" fmla="*/ 910 h 1145"/>
                <a:gd name="T60" fmla="*/ 945 w 1158"/>
                <a:gd name="T61" fmla="*/ 872 h 1145"/>
                <a:gd name="T62" fmla="*/ 865 w 1158"/>
                <a:gd name="T63" fmla="*/ 1043 h 1145"/>
                <a:gd name="T64" fmla="*/ 701 w 1158"/>
                <a:gd name="T65" fmla="*/ 1143 h 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8" h="1145">
                  <a:moveTo>
                    <a:pt x="687" y="1145"/>
                  </a:moveTo>
                  <a:cubicBezTo>
                    <a:pt x="671" y="1145"/>
                    <a:pt x="655" y="1135"/>
                    <a:pt x="650" y="1119"/>
                  </a:cubicBezTo>
                  <a:cubicBezTo>
                    <a:pt x="623" y="1043"/>
                    <a:pt x="623" y="1043"/>
                    <a:pt x="623" y="1043"/>
                  </a:cubicBezTo>
                  <a:cubicBezTo>
                    <a:pt x="609" y="1045"/>
                    <a:pt x="594" y="1045"/>
                    <a:pt x="579" y="1045"/>
                  </a:cubicBezTo>
                  <a:cubicBezTo>
                    <a:pt x="546" y="1045"/>
                    <a:pt x="514" y="1042"/>
                    <a:pt x="481" y="1035"/>
                  </a:cubicBezTo>
                  <a:cubicBezTo>
                    <a:pt x="450" y="1102"/>
                    <a:pt x="450" y="1102"/>
                    <a:pt x="450" y="1102"/>
                  </a:cubicBezTo>
                  <a:cubicBezTo>
                    <a:pt x="446" y="1112"/>
                    <a:pt x="438" y="1120"/>
                    <a:pt x="428" y="1123"/>
                  </a:cubicBezTo>
                  <a:cubicBezTo>
                    <a:pt x="423" y="1125"/>
                    <a:pt x="419" y="1126"/>
                    <a:pt x="414" y="1126"/>
                  </a:cubicBezTo>
                  <a:cubicBezTo>
                    <a:pt x="408" y="1126"/>
                    <a:pt x="402" y="1124"/>
                    <a:pt x="397" y="1122"/>
                  </a:cubicBezTo>
                  <a:cubicBezTo>
                    <a:pt x="265" y="1058"/>
                    <a:pt x="265" y="1058"/>
                    <a:pt x="265" y="1058"/>
                  </a:cubicBezTo>
                  <a:cubicBezTo>
                    <a:pt x="245" y="1048"/>
                    <a:pt x="237" y="1025"/>
                    <a:pt x="246" y="1005"/>
                  </a:cubicBezTo>
                  <a:cubicBezTo>
                    <a:pt x="277" y="937"/>
                    <a:pt x="277" y="937"/>
                    <a:pt x="277" y="937"/>
                  </a:cubicBezTo>
                  <a:cubicBezTo>
                    <a:pt x="241" y="906"/>
                    <a:pt x="209" y="871"/>
                    <a:pt x="183" y="831"/>
                  </a:cubicBezTo>
                  <a:cubicBezTo>
                    <a:pt x="107" y="858"/>
                    <a:pt x="107" y="858"/>
                    <a:pt x="107" y="858"/>
                  </a:cubicBezTo>
                  <a:cubicBezTo>
                    <a:pt x="103" y="860"/>
                    <a:pt x="98" y="860"/>
                    <a:pt x="94" y="860"/>
                  </a:cubicBezTo>
                  <a:cubicBezTo>
                    <a:pt x="88" y="860"/>
                    <a:pt x="82" y="859"/>
                    <a:pt x="76" y="856"/>
                  </a:cubicBezTo>
                  <a:cubicBezTo>
                    <a:pt x="67" y="852"/>
                    <a:pt x="59" y="844"/>
                    <a:pt x="56" y="834"/>
                  </a:cubicBezTo>
                  <a:cubicBezTo>
                    <a:pt x="7" y="695"/>
                    <a:pt x="7" y="695"/>
                    <a:pt x="7" y="695"/>
                  </a:cubicBezTo>
                  <a:cubicBezTo>
                    <a:pt x="0" y="675"/>
                    <a:pt x="11" y="652"/>
                    <a:pt x="31" y="644"/>
                  </a:cubicBezTo>
                  <a:cubicBezTo>
                    <a:pt x="108" y="617"/>
                    <a:pt x="108" y="617"/>
                    <a:pt x="108" y="617"/>
                  </a:cubicBezTo>
                  <a:cubicBezTo>
                    <a:pt x="104" y="570"/>
                    <a:pt x="106" y="523"/>
                    <a:pt x="116" y="477"/>
                  </a:cubicBezTo>
                  <a:cubicBezTo>
                    <a:pt x="53" y="447"/>
                    <a:pt x="53" y="447"/>
                    <a:pt x="53" y="447"/>
                  </a:cubicBezTo>
                  <a:cubicBezTo>
                    <a:pt x="43" y="442"/>
                    <a:pt x="36" y="434"/>
                    <a:pt x="33" y="424"/>
                  </a:cubicBezTo>
                  <a:cubicBezTo>
                    <a:pt x="29" y="414"/>
                    <a:pt x="30" y="403"/>
                    <a:pt x="34" y="393"/>
                  </a:cubicBezTo>
                  <a:cubicBezTo>
                    <a:pt x="98" y="261"/>
                    <a:pt x="98" y="261"/>
                    <a:pt x="98" y="261"/>
                  </a:cubicBezTo>
                  <a:cubicBezTo>
                    <a:pt x="103" y="251"/>
                    <a:pt x="111" y="243"/>
                    <a:pt x="122" y="240"/>
                  </a:cubicBezTo>
                  <a:cubicBezTo>
                    <a:pt x="126" y="239"/>
                    <a:pt x="130" y="238"/>
                    <a:pt x="134" y="238"/>
                  </a:cubicBezTo>
                  <a:cubicBezTo>
                    <a:pt x="141" y="238"/>
                    <a:pt x="147" y="239"/>
                    <a:pt x="152" y="242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42" y="236"/>
                    <a:pt x="278" y="204"/>
                    <a:pt x="317" y="178"/>
                  </a:cubicBezTo>
                  <a:cubicBezTo>
                    <a:pt x="291" y="102"/>
                    <a:pt x="291" y="102"/>
                    <a:pt x="291" y="102"/>
                  </a:cubicBezTo>
                  <a:cubicBezTo>
                    <a:pt x="283" y="82"/>
                    <a:pt x="294" y="59"/>
                    <a:pt x="315" y="51"/>
                  </a:cubicBezTo>
                  <a:cubicBezTo>
                    <a:pt x="455" y="2"/>
                    <a:pt x="455" y="2"/>
                    <a:pt x="455" y="2"/>
                  </a:cubicBezTo>
                  <a:cubicBezTo>
                    <a:pt x="459" y="0"/>
                    <a:pt x="464" y="0"/>
                    <a:pt x="468" y="0"/>
                  </a:cubicBezTo>
                  <a:cubicBezTo>
                    <a:pt x="485" y="0"/>
                    <a:pt x="500" y="10"/>
                    <a:pt x="506" y="26"/>
                  </a:cubicBezTo>
                  <a:cubicBezTo>
                    <a:pt x="532" y="101"/>
                    <a:pt x="532" y="101"/>
                    <a:pt x="532" y="101"/>
                  </a:cubicBezTo>
                  <a:cubicBezTo>
                    <a:pt x="548" y="99"/>
                    <a:pt x="564" y="98"/>
                    <a:pt x="580" y="98"/>
                  </a:cubicBezTo>
                  <a:cubicBezTo>
                    <a:pt x="612" y="98"/>
                    <a:pt x="644" y="102"/>
                    <a:pt x="675" y="108"/>
                  </a:cubicBezTo>
                  <a:cubicBezTo>
                    <a:pt x="707" y="41"/>
                    <a:pt x="707" y="41"/>
                    <a:pt x="707" y="41"/>
                  </a:cubicBezTo>
                  <a:cubicBezTo>
                    <a:pt x="712" y="32"/>
                    <a:pt x="720" y="24"/>
                    <a:pt x="730" y="21"/>
                  </a:cubicBezTo>
                  <a:cubicBezTo>
                    <a:pt x="734" y="19"/>
                    <a:pt x="739" y="18"/>
                    <a:pt x="743" y="18"/>
                  </a:cubicBezTo>
                  <a:cubicBezTo>
                    <a:pt x="749" y="18"/>
                    <a:pt x="755" y="20"/>
                    <a:pt x="761" y="22"/>
                  </a:cubicBezTo>
                  <a:cubicBezTo>
                    <a:pt x="893" y="87"/>
                    <a:pt x="893" y="87"/>
                    <a:pt x="893" y="87"/>
                  </a:cubicBezTo>
                  <a:cubicBezTo>
                    <a:pt x="913" y="96"/>
                    <a:pt x="921" y="120"/>
                    <a:pt x="912" y="140"/>
                  </a:cubicBezTo>
                  <a:cubicBezTo>
                    <a:pt x="880" y="206"/>
                    <a:pt x="880" y="206"/>
                    <a:pt x="880" y="206"/>
                  </a:cubicBezTo>
                  <a:cubicBezTo>
                    <a:pt x="917" y="236"/>
                    <a:pt x="949" y="272"/>
                    <a:pt x="975" y="311"/>
                  </a:cubicBezTo>
                  <a:cubicBezTo>
                    <a:pt x="1050" y="285"/>
                    <a:pt x="1050" y="285"/>
                    <a:pt x="1050" y="285"/>
                  </a:cubicBezTo>
                  <a:cubicBezTo>
                    <a:pt x="1055" y="283"/>
                    <a:pt x="1059" y="282"/>
                    <a:pt x="1064" y="282"/>
                  </a:cubicBezTo>
                  <a:cubicBezTo>
                    <a:pt x="1070" y="282"/>
                    <a:pt x="1076" y="284"/>
                    <a:pt x="1081" y="286"/>
                  </a:cubicBezTo>
                  <a:cubicBezTo>
                    <a:pt x="1091" y="291"/>
                    <a:pt x="1098" y="299"/>
                    <a:pt x="1102" y="309"/>
                  </a:cubicBezTo>
                  <a:cubicBezTo>
                    <a:pt x="1150" y="447"/>
                    <a:pt x="1150" y="447"/>
                    <a:pt x="1150" y="447"/>
                  </a:cubicBezTo>
                  <a:cubicBezTo>
                    <a:pt x="1158" y="468"/>
                    <a:pt x="1147" y="491"/>
                    <a:pt x="1126" y="498"/>
                  </a:cubicBezTo>
                  <a:cubicBezTo>
                    <a:pt x="1051" y="525"/>
                    <a:pt x="1051" y="525"/>
                    <a:pt x="1051" y="525"/>
                  </a:cubicBezTo>
                  <a:cubicBezTo>
                    <a:pt x="1055" y="572"/>
                    <a:pt x="1053" y="620"/>
                    <a:pt x="1043" y="667"/>
                  </a:cubicBezTo>
                  <a:cubicBezTo>
                    <a:pt x="1114" y="702"/>
                    <a:pt x="1114" y="702"/>
                    <a:pt x="1114" y="702"/>
                  </a:cubicBezTo>
                  <a:cubicBezTo>
                    <a:pt x="1134" y="711"/>
                    <a:pt x="1142" y="735"/>
                    <a:pt x="1133" y="755"/>
                  </a:cubicBezTo>
                  <a:cubicBezTo>
                    <a:pt x="1070" y="888"/>
                    <a:pt x="1070" y="888"/>
                    <a:pt x="1070" y="888"/>
                  </a:cubicBezTo>
                  <a:cubicBezTo>
                    <a:pt x="1066" y="897"/>
                    <a:pt x="1058" y="905"/>
                    <a:pt x="1048" y="908"/>
                  </a:cubicBezTo>
                  <a:cubicBezTo>
                    <a:pt x="1043" y="910"/>
                    <a:pt x="1039" y="910"/>
                    <a:pt x="1034" y="910"/>
                  </a:cubicBezTo>
                  <a:cubicBezTo>
                    <a:pt x="1028" y="910"/>
                    <a:pt x="1022" y="909"/>
                    <a:pt x="1017" y="907"/>
                  </a:cubicBezTo>
                  <a:cubicBezTo>
                    <a:pt x="945" y="872"/>
                    <a:pt x="945" y="872"/>
                    <a:pt x="945" y="872"/>
                  </a:cubicBezTo>
                  <a:cubicBezTo>
                    <a:pt x="915" y="910"/>
                    <a:pt x="879" y="942"/>
                    <a:pt x="838" y="968"/>
                  </a:cubicBezTo>
                  <a:cubicBezTo>
                    <a:pt x="865" y="1043"/>
                    <a:pt x="865" y="1043"/>
                    <a:pt x="865" y="1043"/>
                  </a:cubicBezTo>
                  <a:cubicBezTo>
                    <a:pt x="872" y="1063"/>
                    <a:pt x="861" y="1086"/>
                    <a:pt x="840" y="1094"/>
                  </a:cubicBezTo>
                  <a:cubicBezTo>
                    <a:pt x="701" y="1143"/>
                    <a:pt x="701" y="1143"/>
                    <a:pt x="701" y="1143"/>
                  </a:cubicBezTo>
                  <a:cubicBezTo>
                    <a:pt x="696" y="1144"/>
                    <a:pt x="692" y="1145"/>
                    <a:pt x="687" y="1145"/>
                  </a:cubicBez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6038415" y="1979166"/>
            <a:ext cx="583174" cy="583174"/>
            <a:chOff x="5217884" y="2057316"/>
            <a:chExt cx="583174" cy="583174"/>
          </a:xfrm>
        </p:grpSpPr>
        <p:sp>
          <p:nvSpPr>
            <p:cNvPr id="68" name="Oval 67"/>
            <p:cNvSpPr>
              <a:spLocks noChangeAspect="1"/>
            </p:cNvSpPr>
            <p:nvPr/>
          </p:nvSpPr>
          <p:spPr>
            <a:xfrm>
              <a:off x="5217884" y="2057316"/>
              <a:ext cx="583174" cy="583174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Freeform 32"/>
            <p:cNvSpPr>
              <a:spLocks/>
            </p:cNvSpPr>
            <p:nvPr/>
          </p:nvSpPr>
          <p:spPr bwMode="auto">
            <a:xfrm>
              <a:off x="5343350" y="2184624"/>
              <a:ext cx="332242" cy="328558"/>
            </a:xfrm>
            <a:custGeom>
              <a:avLst/>
              <a:gdLst>
                <a:gd name="T0" fmla="*/ 650 w 1158"/>
                <a:gd name="T1" fmla="*/ 1119 h 1145"/>
                <a:gd name="T2" fmla="*/ 579 w 1158"/>
                <a:gd name="T3" fmla="*/ 1045 h 1145"/>
                <a:gd name="T4" fmla="*/ 450 w 1158"/>
                <a:gd name="T5" fmla="*/ 1102 h 1145"/>
                <a:gd name="T6" fmla="*/ 414 w 1158"/>
                <a:gd name="T7" fmla="*/ 1126 h 1145"/>
                <a:gd name="T8" fmla="*/ 265 w 1158"/>
                <a:gd name="T9" fmla="*/ 1058 h 1145"/>
                <a:gd name="T10" fmla="*/ 277 w 1158"/>
                <a:gd name="T11" fmla="*/ 937 h 1145"/>
                <a:gd name="T12" fmla="*/ 107 w 1158"/>
                <a:gd name="T13" fmla="*/ 858 h 1145"/>
                <a:gd name="T14" fmla="*/ 76 w 1158"/>
                <a:gd name="T15" fmla="*/ 856 h 1145"/>
                <a:gd name="T16" fmla="*/ 7 w 1158"/>
                <a:gd name="T17" fmla="*/ 695 h 1145"/>
                <a:gd name="T18" fmla="*/ 108 w 1158"/>
                <a:gd name="T19" fmla="*/ 617 h 1145"/>
                <a:gd name="T20" fmla="*/ 53 w 1158"/>
                <a:gd name="T21" fmla="*/ 447 h 1145"/>
                <a:gd name="T22" fmla="*/ 34 w 1158"/>
                <a:gd name="T23" fmla="*/ 393 h 1145"/>
                <a:gd name="T24" fmla="*/ 122 w 1158"/>
                <a:gd name="T25" fmla="*/ 240 h 1145"/>
                <a:gd name="T26" fmla="*/ 152 w 1158"/>
                <a:gd name="T27" fmla="*/ 242 h 1145"/>
                <a:gd name="T28" fmla="*/ 212 w 1158"/>
                <a:gd name="T29" fmla="*/ 273 h 1145"/>
                <a:gd name="T30" fmla="*/ 291 w 1158"/>
                <a:gd name="T31" fmla="*/ 102 h 1145"/>
                <a:gd name="T32" fmla="*/ 455 w 1158"/>
                <a:gd name="T33" fmla="*/ 2 h 1145"/>
                <a:gd name="T34" fmla="*/ 506 w 1158"/>
                <a:gd name="T35" fmla="*/ 26 h 1145"/>
                <a:gd name="T36" fmla="*/ 580 w 1158"/>
                <a:gd name="T37" fmla="*/ 98 h 1145"/>
                <a:gd name="T38" fmla="*/ 707 w 1158"/>
                <a:gd name="T39" fmla="*/ 41 h 1145"/>
                <a:gd name="T40" fmla="*/ 743 w 1158"/>
                <a:gd name="T41" fmla="*/ 18 h 1145"/>
                <a:gd name="T42" fmla="*/ 893 w 1158"/>
                <a:gd name="T43" fmla="*/ 87 h 1145"/>
                <a:gd name="T44" fmla="*/ 880 w 1158"/>
                <a:gd name="T45" fmla="*/ 206 h 1145"/>
                <a:gd name="T46" fmla="*/ 1050 w 1158"/>
                <a:gd name="T47" fmla="*/ 285 h 1145"/>
                <a:gd name="T48" fmla="*/ 1081 w 1158"/>
                <a:gd name="T49" fmla="*/ 286 h 1145"/>
                <a:gd name="T50" fmla="*/ 1150 w 1158"/>
                <a:gd name="T51" fmla="*/ 447 h 1145"/>
                <a:gd name="T52" fmla="*/ 1051 w 1158"/>
                <a:gd name="T53" fmla="*/ 525 h 1145"/>
                <a:gd name="T54" fmla="*/ 1114 w 1158"/>
                <a:gd name="T55" fmla="*/ 702 h 1145"/>
                <a:gd name="T56" fmla="*/ 1070 w 1158"/>
                <a:gd name="T57" fmla="*/ 888 h 1145"/>
                <a:gd name="T58" fmla="*/ 1034 w 1158"/>
                <a:gd name="T59" fmla="*/ 910 h 1145"/>
                <a:gd name="T60" fmla="*/ 945 w 1158"/>
                <a:gd name="T61" fmla="*/ 872 h 1145"/>
                <a:gd name="T62" fmla="*/ 865 w 1158"/>
                <a:gd name="T63" fmla="*/ 1043 h 1145"/>
                <a:gd name="T64" fmla="*/ 701 w 1158"/>
                <a:gd name="T65" fmla="*/ 1143 h 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8" h="1145">
                  <a:moveTo>
                    <a:pt x="687" y="1145"/>
                  </a:moveTo>
                  <a:cubicBezTo>
                    <a:pt x="671" y="1145"/>
                    <a:pt x="655" y="1135"/>
                    <a:pt x="650" y="1119"/>
                  </a:cubicBezTo>
                  <a:cubicBezTo>
                    <a:pt x="623" y="1043"/>
                    <a:pt x="623" y="1043"/>
                    <a:pt x="623" y="1043"/>
                  </a:cubicBezTo>
                  <a:cubicBezTo>
                    <a:pt x="609" y="1045"/>
                    <a:pt x="594" y="1045"/>
                    <a:pt x="579" y="1045"/>
                  </a:cubicBezTo>
                  <a:cubicBezTo>
                    <a:pt x="546" y="1045"/>
                    <a:pt x="514" y="1042"/>
                    <a:pt x="481" y="1035"/>
                  </a:cubicBezTo>
                  <a:cubicBezTo>
                    <a:pt x="450" y="1102"/>
                    <a:pt x="450" y="1102"/>
                    <a:pt x="450" y="1102"/>
                  </a:cubicBezTo>
                  <a:cubicBezTo>
                    <a:pt x="446" y="1112"/>
                    <a:pt x="438" y="1120"/>
                    <a:pt x="428" y="1123"/>
                  </a:cubicBezTo>
                  <a:cubicBezTo>
                    <a:pt x="423" y="1125"/>
                    <a:pt x="419" y="1126"/>
                    <a:pt x="414" y="1126"/>
                  </a:cubicBezTo>
                  <a:cubicBezTo>
                    <a:pt x="408" y="1126"/>
                    <a:pt x="402" y="1124"/>
                    <a:pt x="397" y="1122"/>
                  </a:cubicBezTo>
                  <a:cubicBezTo>
                    <a:pt x="265" y="1058"/>
                    <a:pt x="265" y="1058"/>
                    <a:pt x="265" y="1058"/>
                  </a:cubicBezTo>
                  <a:cubicBezTo>
                    <a:pt x="245" y="1048"/>
                    <a:pt x="237" y="1025"/>
                    <a:pt x="246" y="1005"/>
                  </a:cubicBezTo>
                  <a:cubicBezTo>
                    <a:pt x="277" y="937"/>
                    <a:pt x="277" y="937"/>
                    <a:pt x="277" y="937"/>
                  </a:cubicBezTo>
                  <a:cubicBezTo>
                    <a:pt x="241" y="906"/>
                    <a:pt x="209" y="871"/>
                    <a:pt x="183" y="831"/>
                  </a:cubicBezTo>
                  <a:cubicBezTo>
                    <a:pt x="107" y="858"/>
                    <a:pt x="107" y="858"/>
                    <a:pt x="107" y="858"/>
                  </a:cubicBezTo>
                  <a:cubicBezTo>
                    <a:pt x="103" y="860"/>
                    <a:pt x="98" y="860"/>
                    <a:pt x="94" y="860"/>
                  </a:cubicBezTo>
                  <a:cubicBezTo>
                    <a:pt x="88" y="860"/>
                    <a:pt x="82" y="859"/>
                    <a:pt x="76" y="856"/>
                  </a:cubicBezTo>
                  <a:cubicBezTo>
                    <a:pt x="67" y="852"/>
                    <a:pt x="59" y="844"/>
                    <a:pt x="56" y="834"/>
                  </a:cubicBezTo>
                  <a:cubicBezTo>
                    <a:pt x="7" y="695"/>
                    <a:pt x="7" y="695"/>
                    <a:pt x="7" y="695"/>
                  </a:cubicBezTo>
                  <a:cubicBezTo>
                    <a:pt x="0" y="675"/>
                    <a:pt x="11" y="652"/>
                    <a:pt x="31" y="644"/>
                  </a:cubicBezTo>
                  <a:cubicBezTo>
                    <a:pt x="108" y="617"/>
                    <a:pt x="108" y="617"/>
                    <a:pt x="108" y="617"/>
                  </a:cubicBezTo>
                  <a:cubicBezTo>
                    <a:pt x="104" y="570"/>
                    <a:pt x="106" y="523"/>
                    <a:pt x="116" y="477"/>
                  </a:cubicBezTo>
                  <a:cubicBezTo>
                    <a:pt x="53" y="447"/>
                    <a:pt x="53" y="447"/>
                    <a:pt x="53" y="447"/>
                  </a:cubicBezTo>
                  <a:cubicBezTo>
                    <a:pt x="43" y="442"/>
                    <a:pt x="36" y="434"/>
                    <a:pt x="33" y="424"/>
                  </a:cubicBezTo>
                  <a:cubicBezTo>
                    <a:pt x="29" y="414"/>
                    <a:pt x="30" y="403"/>
                    <a:pt x="34" y="393"/>
                  </a:cubicBezTo>
                  <a:cubicBezTo>
                    <a:pt x="98" y="261"/>
                    <a:pt x="98" y="261"/>
                    <a:pt x="98" y="261"/>
                  </a:cubicBezTo>
                  <a:cubicBezTo>
                    <a:pt x="103" y="251"/>
                    <a:pt x="111" y="243"/>
                    <a:pt x="122" y="240"/>
                  </a:cubicBezTo>
                  <a:cubicBezTo>
                    <a:pt x="126" y="239"/>
                    <a:pt x="130" y="238"/>
                    <a:pt x="134" y="238"/>
                  </a:cubicBezTo>
                  <a:cubicBezTo>
                    <a:pt x="141" y="238"/>
                    <a:pt x="147" y="239"/>
                    <a:pt x="152" y="242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42" y="236"/>
                    <a:pt x="278" y="204"/>
                    <a:pt x="317" y="178"/>
                  </a:cubicBezTo>
                  <a:cubicBezTo>
                    <a:pt x="291" y="102"/>
                    <a:pt x="291" y="102"/>
                    <a:pt x="291" y="102"/>
                  </a:cubicBezTo>
                  <a:cubicBezTo>
                    <a:pt x="283" y="82"/>
                    <a:pt x="294" y="59"/>
                    <a:pt x="315" y="51"/>
                  </a:cubicBezTo>
                  <a:cubicBezTo>
                    <a:pt x="455" y="2"/>
                    <a:pt x="455" y="2"/>
                    <a:pt x="455" y="2"/>
                  </a:cubicBezTo>
                  <a:cubicBezTo>
                    <a:pt x="459" y="0"/>
                    <a:pt x="464" y="0"/>
                    <a:pt x="468" y="0"/>
                  </a:cubicBezTo>
                  <a:cubicBezTo>
                    <a:pt x="485" y="0"/>
                    <a:pt x="500" y="10"/>
                    <a:pt x="506" y="26"/>
                  </a:cubicBezTo>
                  <a:cubicBezTo>
                    <a:pt x="532" y="101"/>
                    <a:pt x="532" y="101"/>
                    <a:pt x="532" y="101"/>
                  </a:cubicBezTo>
                  <a:cubicBezTo>
                    <a:pt x="548" y="99"/>
                    <a:pt x="564" y="98"/>
                    <a:pt x="580" y="98"/>
                  </a:cubicBezTo>
                  <a:cubicBezTo>
                    <a:pt x="612" y="98"/>
                    <a:pt x="644" y="102"/>
                    <a:pt x="675" y="108"/>
                  </a:cubicBezTo>
                  <a:cubicBezTo>
                    <a:pt x="707" y="41"/>
                    <a:pt x="707" y="41"/>
                    <a:pt x="707" y="41"/>
                  </a:cubicBezTo>
                  <a:cubicBezTo>
                    <a:pt x="712" y="32"/>
                    <a:pt x="720" y="24"/>
                    <a:pt x="730" y="21"/>
                  </a:cubicBezTo>
                  <a:cubicBezTo>
                    <a:pt x="734" y="19"/>
                    <a:pt x="739" y="18"/>
                    <a:pt x="743" y="18"/>
                  </a:cubicBezTo>
                  <a:cubicBezTo>
                    <a:pt x="749" y="18"/>
                    <a:pt x="755" y="20"/>
                    <a:pt x="761" y="22"/>
                  </a:cubicBezTo>
                  <a:cubicBezTo>
                    <a:pt x="893" y="87"/>
                    <a:pt x="893" y="87"/>
                    <a:pt x="893" y="87"/>
                  </a:cubicBezTo>
                  <a:cubicBezTo>
                    <a:pt x="913" y="96"/>
                    <a:pt x="921" y="120"/>
                    <a:pt x="912" y="140"/>
                  </a:cubicBezTo>
                  <a:cubicBezTo>
                    <a:pt x="880" y="206"/>
                    <a:pt x="880" y="206"/>
                    <a:pt x="880" y="206"/>
                  </a:cubicBezTo>
                  <a:cubicBezTo>
                    <a:pt x="917" y="236"/>
                    <a:pt x="949" y="272"/>
                    <a:pt x="975" y="311"/>
                  </a:cubicBezTo>
                  <a:cubicBezTo>
                    <a:pt x="1050" y="285"/>
                    <a:pt x="1050" y="285"/>
                    <a:pt x="1050" y="285"/>
                  </a:cubicBezTo>
                  <a:cubicBezTo>
                    <a:pt x="1055" y="283"/>
                    <a:pt x="1059" y="282"/>
                    <a:pt x="1064" y="282"/>
                  </a:cubicBezTo>
                  <a:cubicBezTo>
                    <a:pt x="1070" y="282"/>
                    <a:pt x="1076" y="284"/>
                    <a:pt x="1081" y="286"/>
                  </a:cubicBezTo>
                  <a:cubicBezTo>
                    <a:pt x="1091" y="291"/>
                    <a:pt x="1098" y="299"/>
                    <a:pt x="1102" y="309"/>
                  </a:cubicBezTo>
                  <a:cubicBezTo>
                    <a:pt x="1150" y="447"/>
                    <a:pt x="1150" y="447"/>
                    <a:pt x="1150" y="447"/>
                  </a:cubicBezTo>
                  <a:cubicBezTo>
                    <a:pt x="1158" y="468"/>
                    <a:pt x="1147" y="491"/>
                    <a:pt x="1126" y="498"/>
                  </a:cubicBezTo>
                  <a:cubicBezTo>
                    <a:pt x="1051" y="525"/>
                    <a:pt x="1051" y="525"/>
                    <a:pt x="1051" y="525"/>
                  </a:cubicBezTo>
                  <a:cubicBezTo>
                    <a:pt x="1055" y="572"/>
                    <a:pt x="1053" y="620"/>
                    <a:pt x="1043" y="667"/>
                  </a:cubicBezTo>
                  <a:cubicBezTo>
                    <a:pt x="1114" y="702"/>
                    <a:pt x="1114" y="702"/>
                    <a:pt x="1114" y="702"/>
                  </a:cubicBezTo>
                  <a:cubicBezTo>
                    <a:pt x="1134" y="711"/>
                    <a:pt x="1142" y="735"/>
                    <a:pt x="1133" y="755"/>
                  </a:cubicBezTo>
                  <a:cubicBezTo>
                    <a:pt x="1070" y="888"/>
                    <a:pt x="1070" y="888"/>
                    <a:pt x="1070" y="888"/>
                  </a:cubicBezTo>
                  <a:cubicBezTo>
                    <a:pt x="1066" y="897"/>
                    <a:pt x="1058" y="905"/>
                    <a:pt x="1048" y="908"/>
                  </a:cubicBezTo>
                  <a:cubicBezTo>
                    <a:pt x="1043" y="910"/>
                    <a:pt x="1039" y="910"/>
                    <a:pt x="1034" y="910"/>
                  </a:cubicBezTo>
                  <a:cubicBezTo>
                    <a:pt x="1028" y="910"/>
                    <a:pt x="1022" y="909"/>
                    <a:pt x="1017" y="907"/>
                  </a:cubicBezTo>
                  <a:cubicBezTo>
                    <a:pt x="945" y="872"/>
                    <a:pt x="945" y="872"/>
                    <a:pt x="945" y="872"/>
                  </a:cubicBezTo>
                  <a:cubicBezTo>
                    <a:pt x="915" y="910"/>
                    <a:pt x="879" y="942"/>
                    <a:pt x="838" y="968"/>
                  </a:cubicBezTo>
                  <a:cubicBezTo>
                    <a:pt x="865" y="1043"/>
                    <a:pt x="865" y="1043"/>
                    <a:pt x="865" y="1043"/>
                  </a:cubicBezTo>
                  <a:cubicBezTo>
                    <a:pt x="872" y="1063"/>
                    <a:pt x="861" y="1086"/>
                    <a:pt x="840" y="1094"/>
                  </a:cubicBezTo>
                  <a:cubicBezTo>
                    <a:pt x="701" y="1143"/>
                    <a:pt x="701" y="1143"/>
                    <a:pt x="701" y="1143"/>
                  </a:cubicBezTo>
                  <a:cubicBezTo>
                    <a:pt x="696" y="1144"/>
                    <a:pt x="692" y="1145"/>
                    <a:pt x="687" y="1145"/>
                  </a:cubicBez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4671243" y="1979166"/>
            <a:ext cx="583174" cy="583174"/>
            <a:chOff x="5217884" y="2057316"/>
            <a:chExt cx="583174" cy="583174"/>
          </a:xfrm>
        </p:grpSpPr>
        <p:sp>
          <p:nvSpPr>
            <p:cNvPr id="71" name="Oval 70"/>
            <p:cNvSpPr>
              <a:spLocks noChangeAspect="1"/>
            </p:cNvSpPr>
            <p:nvPr/>
          </p:nvSpPr>
          <p:spPr>
            <a:xfrm>
              <a:off x="5217884" y="2057316"/>
              <a:ext cx="583174" cy="583174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Freeform 32"/>
            <p:cNvSpPr>
              <a:spLocks/>
            </p:cNvSpPr>
            <p:nvPr/>
          </p:nvSpPr>
          <p:spPr bwMode="auto">
            <a:xfrm>
              <a:off x="5343350" y="2184624"/>
              <a:ext cx="332242" cy="328558"/>
            </a:xfrm>
            <a:custGeom>
              <a:avLst/>
              <a:gdLst>
                <a:gd name="T0" fmla="*/ 650 w 1158"/>
                <a:gd name="T1" fmla="*/ 1119 h 1145"/>
                <a:gd name="T2" fmla="*/ 579 w 1158"/>
                <a:gd name="T3" fmla="*/ 1045 h 1145"/>
                <a:gd name="T4" fmla="*/ 450 w 1158"/>
                <a:gd name="T5" fmla="*/ 1102 h 1145"/>
                <a:gd name="T6" fmla="*/ 414 w 1158"/>
                <a:gd name="T7" fmla="*/ 1126 h 1145"/>
                <a:gd name="T8" fmla="*/ 265 w 1158"/>
                <a:gd name="T9" fmla="*/ 1058 h 1145"/>
                <a:gd name="T10" fmla="*/ 277 w 1158"/>
                <a:gd name="T11" fmla="*/ 937 h 1145"/>
                <a:gd name="T12" fmla="*/ 107 w 1158"/>
                <a:gd name="T13" fmla="*/ 858 h 1145"/>
                <a:gd name="T14" fmla="*/ 76 w 1158"/>
                <a:gd name="T15" fmla="*/ 856 h 1145"/>
                <a:gd name="T16" fmla="*/ 7 w 1158"/>
                <a:gd name="T17" fmla="*/ 695 h 1145"/>
                <a:gd name="T18" fmla="*/ 108 w 1158"/>
                <a:gd name="T19" fmla="*/ 617 h 1145"/>
                <a:gd name="T20" fmla="*/ 53 w 1158"/>
                <a:gd name="T21" fmla="*/ 447 h 1145"/>
                <a:gd name="T22" fmla="*/ 34 w 1158"/>
                <a:gd name="T23" fmla="*/ 393 h 1145"/>
                <a:gd name="T24" fmla="*/ 122 w 1158"/>
                <a:gd name="T25" fmla="*/ 240 h 1145"/>
                <a:gd name="T26" fmla="*/ 152 w 1158"/>
                <a:gd name="T27" fmla="*/ 242 h 1145"/>
                <a:gd name="T28" fmla="*/ 212 w 1158"/>
                <a:gd name="T29" fmla="*/ 273 h 1145"/>
                <a:gd name="T30" fmla="*/ 291 w 1158"/>
                <a:gd name="T31" fmla="*/ 102 h 1145"/>
                <a:gd name="T32" fmla="*/ 455 w 1158"/>
                <a:gd name="T33" fmla="*/ 2 h 1145"/>
                <a:gd name="T34" fmla="*/ 506 w 1158"/>
                <a:gd name="T35" fmla="*/ 26 h 1145"/>
                <a:gd name="T36" fmla="*/ 580 w 1158"/>
                <a:gd name="T37" fmla="*/ 98 h 1145"/>
                <a:gd name="T38" fmla="*/ 707 w 1158"/>
                <a:gd name="T39" fmla="*/ 41 h 1145"/>
                <a:gd name="T40" fmla="*/ 743 w 1158"/>
                <a:gd name="T41" fmla="*/ 18 h 1145"/>
                <a:gd name="T42" fmla="*/ 893 w 1158"/>
                <a:gd name="T43" fmla="*/ 87 h 1145"/>
                <a:gd name="T44" fmla="*/ 880 w 1158"/>
                <a:gd name="T45" fmla="*/ 206 h 1145"/>
                <a:gd name="T46" fmla="*/ 1050 w 1158"/>
                <a:gd name="T47" fmla="*/ 285 h 1145"/>
                <a:gd name="T48" fmla="*/ 1081 w 1158"/>
                <a:gd name="T49" fmla="*/ 286 h 1145"/>
                <a:gd name="T50" fmla="*/ 1150 w 1158"/>
                <a:gd name="T51" fmla="*/ 447 h 1145"/>
                <a:gd name="T52" fmla="*/ 1051 w 1158"/>
                <a:gd name="T53" fmla="*/ 525 h 1145"/>
                <a:gd name="T54" fmla="*/ 1114 w 1158"/>
                <a:gd name="T55" fmla="*/ 702 h 1145"/>
                <a:gd name="T56" fmla="*/ 1070 w 1158"/>
                <a:gd name="T57" fmla="*/ 888 h 1145"/>
                <a:gd name="T58" fmla="*/ 1034 w 1158"/>
                <a:gd name="T59" fmla="*/ 910 h 1145"/>
                <a:gd name="T60" fmla="*/ 945 w 1158"/>
                <a:gd name="T61" fmla="*/ 872 h 1145"/>
                <a:gd name="T62" fmla="*/ 865 w 1158"/>
                <a:gd name="T63" fmla="*/ 1043 h 1145"/>
                <a:gd name="T64" fmla="*/ 701 w 1158"/>
                <a:gd name="T65" fmla="*/ 1143 h 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8" h="1145">
                  <a:moveTo>
                    <a:pt x="687" y="1145"/>
                  </a:moveTo>
                  <a:cubicBezTo>
                    <a:pt x="671" y="1145"/>
                    <a:pt x="655" y="1135"/>
                    <a:pt x="650" y="1119"/>
                  </a:cubicBezTo>
                  <a:cubicBezTo>
                    <a:pt x="623" y="1043"/>
                    <a:pt x="623" y="1043"/>
                    <a:pt x="623" y="1043"/>
                  </a:cubicBezTo>
                  <a:cubicBezTo>
                    <a:pt x="609" y="1045"/>
                    <a:pt x="594" y="1045"/>
                    <a:pt x="579" y="1045"/>
                  </a:cubicBezTo>
                  <a:cubicBezTo>
                    <a:pt x="546" y="1045"/>
                    <a:pt x="514" y="1042"/>
                    <a:pt x="481" y="1035"/>
                  </a:cubicBezTo>
                  <a:cubicBezTo>
                    <a:pt x="450" y="1102"/>
                    <a:pt x="450" y="1102"/>
                    <a:pt x="450" y="1102"/>
                  </a:cubicBezTo>
                  <a:cubicBezTo>
                    <a:pt x="446" y="1112"/>
                    <a:pt x="438" y="1120"/>
                    <a:pt x="428" y="1123"/>
                  </a:cubicBezTo>
                  <a:cubicBezTo>
                    <a:pt x="423" y="1125"/>
                    <a:pt x="419" y="1126"/>
                    <a:pt x="414" y="1126"/>
                  </a:cubicBezTo>
                  <a:cubicBezTo>
                    <a:pt x="408" y="1126"/>
                    <a:pt x="402" y="1124"/>
                    <a:pt x="397" y="1122"/>
                  </a:cubicBezTo>
                  <a:cubicBezTo>
                    <a:pt x="265" y="1058"/>
                    <a:pt x="265" y="1058"/>
                    <a:pt x="265" y="1058"/>
                  </a:cubicBezTo>
                  <a:cubicBezTo>
                    <a:pt x="245" y="1048"/>
                    <a:pt x="237" y="1025"/>
                    <a:pt x="246" y="1005"/>
                  </a:cubicBezTo>
                  <a:cubicBezTo>
                    <a:pt x="277" y="937"/>
                    <a:pt x="277" y="937"/>
                    <a:pt x="277" y="937"/>
                  </a:cubicBezTo>
                  <a:cubicBezTo>
                    <a:pt x="241" y="906"/>
                    <a:pt x="209" y="871"/>
                    <a:pt x="183" y="831"/>
                  </a:cubicBezTo>
                  <a:cubicBezTo>
                    <a:pt x="107" y="858"/>
                    <a:pt x="107" y="858"/>
                    <a:pt x="107" y="858"/>
                  </a:cubicBezTo>
                  <a:cubicBezTo>
                    <a:pt x="103" y="860"/>
                    <a:pt x="98" y="860"/>
                    <a:pt x="94" y="860"/>
                  </a:cubicBezTo>
                  <a:cubicBezTo>
                    <a:pt x="88" y="860"/>
                    <a:pt x="82" y="859"/>
                    <a:pt x="76" y="856"/>
                  </a:cubicBezTo>
                  <a:cubicBezTo>
                    <a:pt x="67" y="852"/>
                    <a:pt x="59" y="844"/>
                    <a:pt x="56" y="834"/>
                  </a:cubicBezTo>
                  <a:cubicBezTo>
                    <a:pt x="7" y="695"/>
                    <a:pt x="7" y="695"/>
                    <a:pt x="7" y="695"/>
                  </a:cubicBezTo>
                  <a:cubicBezTo>
                    <a:pt x="0" y="675"/>
                    <a:pt x="11" y="652"/>
                    <a:pt x="31" y="644"/>
                  </a:cubicBezTo>
                  <a:cubicBezTo>
                    <a:pt x="108" y="617"/>
                    <a:pt x="108" y="617"/>
                    <a:pt x="108" y="617"/>
                  </a:cubicBezTo>
                  <a:cubicBezTo>
                    <a:pt x="104" y="570"/>
                    <a:pt x="106" y="523"/>
                    <a:pt x="116" y="477"/>
                  </a:cubicBezTo>
                  <a:cubicBezTo>
                    <a:pt x="53" y="447"/>
                    <a:pt x="53" y="447"/>
                    <a:pt x="53" y="447"/>
                  </a:cubicBezTo>
                  <a:cubicBezTo>
                    <a:pt x="43" y="442"/>
                    <a:pt x="36" y="434"/>
                    <a:pt x="33" y="424"/>
                  </a:cubicBezTo>
                  <a:cubicBezTo>
                    <a:pt x="29" y="414"/>
                    <a:pt x="30" y="403"/>
                    <a:pt x="34" y="393"/>
                  </a:cubicBezTo>
                  <a:cubicBezTo>
                    <a:pt x="98" y="261"/>
                    <a:pt x="98" y="261"/>
                    <a:pt x="98" y="261"/>
                  </a:cubicBezTo>
                  <a:cubicBezTo>
                    <a:pt x="103" y="251"/>
                    <a:pt x="111" y="243"/>
                    <a:pt x="122" y="240"/>
                  </a:cubicBezTo>
                  <a:cubicBezTo>
                    <a:pt x="126" y="239"/>
                    <a:pt x="130" y="238"/>
                    <a:pt x="134" y="238"/>
                  </a:cubicBezTo>
                  <a:cubicBezTo>
                    <a:pt x="141" y="238"/>
                    <a:pt x="147" y="239"/>
                    <a:pt x="152" y="242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42" y="236"/>
                    <a:pt x="278" y="204"/>
                    <a:pt x="317" y="178"/>
                  </a:cubicBezTo>
                  <a:cubicBezTo>
                    <a:pt x="291" y="102"/>
                    <a:pt x="291" y="102"/>
                    <a:pt x="291" y="102"/>
                  </a:cubicBezTo>
                  <a:cubicBezTo>
                    <a:pt x="283" y="82"/>
                    <a:pt x="294" y="59"/>
                    <a:pt x="315" y="51"/>
                  </a:cubicBezTo>
                  <a:cubicBezTo>
                    <a:pt x="455" y="2"/>
                    <a:pt x="455" y="2"/>
                    <a:pt x="455" y="2"/>
                  </a:cubicBezTo>
                  <a:cubicBezTo>
                    <a:pt x="459" y="0"/>
                    <a:pt x="464" y="0"/>
                    <a:pt x="468" y="0"/>
                  </a:cubicBezTo>
                  <a:cubicBezTo>
                    <a:pt x="485" y="0"/>
                    <a:pt x="500" y="10"/>
                    <a:pt x="506" y="26"/>
                  </a:cubicBezTo>
                  <a:cubicBezTo>
                    <a:pt x="532" y="101"/>
                    <a:pt x="532" y="101"/>
                    <a:pt x="532" y="101"/>
                  </a:cubicBezTo>
                  <a:cubicBezTo>
                    <a:pt x="548" y="99"/>
                    <a:pt x="564" y="98"/>
                    <a:pt x="580" y="98"/>
                  </a:cubicBezTo>
                  <a:cubicBezTo>
                    <a:pt x="612" y="98"/>
                    <a:pt x="644" y="102"/>
                    <a:pt x="675" y="108"/>
                  </a:cubicBezTo>
                  <a:cubicBezTo>
                    <a:pt x="707" y="41"/>
                    <a:pt x="707" y="41"/>
                    <a:pt x="707" y="41"/>
                  </a:cubicBezTo>
                  <a:cubicBezTo>
                    <a:pt x="712" y="32"/>
                    <a:pt x="720" y="24"/>
                    <a:pt x="730" y="21"/>
                  </a:cubicBezTo>
                  <a:cubicBezTo>
                    <a:pt x="734" y="19"/>
                    <a:pt x="739" y="18"/>
                    <a:pt x="743" y="18"/>
                  </a:cubicBezTo>
                  <a:cubicBezTo>
                    <a:pt x="749" y="18"/>
                    <a:pt x="755" y="20"/>
                    <a:pt x="761" y="22"/>
                  </a:cubicBezTo>
                  <a:cubicBezTo>
                    <a:pt x="893" y="87"/>
                    <a:pt x="893" y="87"/>
                    <a:pt x="893" y="87"/>
                  </a:cubicBezTo>
                  <a:cubicBezTo>
                    <a:pt x="913" y="96"/>
                    <a:pt x="921" y="120"/>
                    <a:pt x="912" y="140"/>
                  </a:cubicBezTo>
                  <a:cubicBezTo>
                    <a:pt x="880" y="206"/>
                    <a:pt x="880" y="206"/>
                    <a:pt x="880" y="206"/>
                  </a:cubicBezTo>
                  <a:cubicBezTo>
                    <a:pt x="917" y="236"/>
                    <a:pt x="949" y="272"/>
                    <a:pt x="975" y="311"/>
                  </a:cubicBezTo>
                  <a:cubicBezTo>
                    <a:pt x="1050" y="285"/>
                    <a:pt x="1050" y="285"/>
                    <a:pt x="1050" y="285"/>
                  </a:cubicBezTo>
                  <a:cubicBezTo>
                    <a:pt x="1055" y="283"/>
                    <a:pt x="1059" y="282"/>
                    <a:pt x="1064" y="282"/>
                  </a:cubicBezTo>
                  <a:cubicBezTo>
                    <a:pt x="1070" y="282"/>
                    <a:pt x="1076" y="284"/>
                    <a:pt x="1081" y="286"/>
                  </a:cubicBezTo>
                  <a:cubicBezTo>
                    <a:pt x="1091" y="291"/>
                    <a:pt x="1098" y="299"/>
                    <a:pt x="1102" y="309"/>
                  </a:cubicBezTo>
                  <a:cubicBezTo>
                    <a:pt x="1150" y="447"/>
                    <a:pt x="1150" y="447"/>
                    <a:pt x="1150" y="447"/>
                  </a:cubicBezTo>
                  <a:cubicBezTo>
                    <a:pt x="1158" y="468"/>
                    <a:pt x="1147" y="491"/>
                    <a:pt x="1126" y="498"/>
                  </a:cubicBezTo>
                  <a:cubicBezTo>
                    <a:pt x="1051" y="525"/>
                    <a:pt x="1051" y="525"/>
                    <a:pt x="1051" y="525"/>
                  </a:cubicBezTo>
                  <a:cubicBezTo>
                    <a:pt x="1055" y="572"/>
                    <a:pt x="1053" y="620"/>
                    <a:pt x="1043" y="667"/>
                  </a:cubicBezTo>
                  <a:cubicBezTo>
                    <a:pt x="1114" y="702"/>
                    <a:pt x="1114" y="702"/>
                    <a:pt x="1114" y="702"/>
                  </a:cubicBezTo>
                  <a:cubicBezTo>
                    <a:pt x="1134" y="711"/>
                    <a:pt x="1142" y="735"/>
                    <a:pt x="1133" y="755"/>
                  </a:cubicBezTo>
                  <a:cubicBezTo>
                    <a:pt x="1070" y="888"/>
                    <a:pt x="1070" y="888"/>
                    <a:pt x="1070" y="888"/>
                  </a:cubicBezTo>
                  <a:cubicBezTo>
                    <a:pt x="1066" y="897"/>
                    <a:pt x="1058" y="905"/>
                    <a:pt x="1048" y="908"/>
                  </a:cubicBezTo>
                  <a:cubicBezTo>
                    <a:pt x="1043" y="910"/>
                    <a:pt x="1039" y="910"/>
                    <a:pt x="1034" y="910"/>
                  </a:cubicBezTo>
                  <a:cubicBezTo>
                    <a:pt x="1028" y="910"/>
                    <a:pt x="1022" y="909"/>
                    <a:pt x="1017" y="907"/>
                  </a:cubicBezTo>
                  <a:cubicBezTo>
                    <a:pt x="945" y="872"/>
                    <a:pt x="945" y="872"/>
                    <a:pt x="945" y="872"/>
                  </a:cubicBezTo>
                  <a:cubicBezTo>
                    <a:pt x="915" y="910"/>
                    <a:pt x="879" y="942"/>
                    <a:pt x="838" y="968"/>
                  </a:cubicBezTo>
                  <a:cubicBezTo>
                    <a:pt x="865" y="1043"/>
                    <a:pt x="865" y="1043"/>
                    <a:pt x="865" y="1043"/>
                  </a:cubicBezTo>
                  <a:cubicBezTo>
                    <a:pt x="872" y="1063"/>
                    <a:pt x="861" y="1086"/>
                    <a:pt x="840" y="1094"/>
                  </a:cubicBezTo>
                  <a:cubicBezTo>
                    <a:pt x="701" y="1143"/>
                    <a:pt x="701" y="1143"/>
                    <a:pt x="701" y="1143"/>
                  </a:cubicBezTo>
                  <a:cubicBezTo>
                    <a:pt x="696" y="1144"/>
                    <a:pt x="692" y="1145"/>
                    <a:pt x="687" y="1145"/>
                  </a:cubicBez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5354829" y="1979166"/>
            <a:ext cx="583174" cy="583174"/>
            <a:chOff x="5217884" y="2057316"/>
            <a:chExt cx="583174" cy="583174"/>
          </a:xfrm>
        </p:grpSpPr>
        <p:sp>
          <p:nvSpPr>
            <p:cNvPr id="74" name="Oval 73"/>
            <p:cNvSpPr>
              <a:spLocks noChangeAspect="1"/>
            </p:cNvSpPr>
            <p:nvPr/>
          </p:nvSpPr>
          <p:spPr>
            <a:xfrm>
              <a:off x="5217884" y="2057316"/>
              <a:ext cx="583174" cy="583174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Freeform 32"/>
            <p:cNvSpPr>
              <a:spLocks/>
            </p:cNvSpPr>
            <p:nvPr/>
          </p:nvSpPr>
          <p:spPr bwMode="auto">
            <a:xfrm>
              <a:off x="5343350" y="2184624"/>
              <a:ext cx="332242" cy="328558"/>
            </a:xfrm>
            <a:custGeom>
              <a:avLst/>
              <a:gdLst>
                <a:gd name="T0" fmla="*/ 650 w 1158"/>
                <a:gd name="T1" fmla="*/ 1119 h 1145"/>
                <a:gd name="T2" fmla="*/ 579 w 1158"/>
                <a:gd name="T3" fmla="*/ 1045 h 1145"/>
                <a:gd name="T4" fmla="*/ 450 w 1158"/>
                <a:gd name="T5" fmla="*/ 1102 h 1145"/>
                <a:gd name="T6" fmla="*/ 414 w 1158"/>
                <a:gd name="T7" fmla="*/ 1126 h 1145"/>
                <a:gd name="T8" fmla="*/ 265 w 1158"/>
                <a:gd name="T9" fmla="*/ 1058 h 1145"/>
                <a:gd name="T10" fmla="*/ 277 w 1158"/>
                <a:gd name="T11" fmla="*/ 937 h 1145"/>
                <a:gd name="T12" fmla="*/ 107 w 1158"/>
                <a:gd name="T13" fmla="*/ 858 h 1145"/>
                <a:gd name="T14" fmla="*/ 76 w 1158"/>
                <a:gd name="T15" fmla="*/ 856 h 1145"/>
                <a:gd name="T16" fmla="*/ 7 w 1158"/>
                <a:gd name="T17" fmla="*/ 695 h 1145"/>
                <a:gd name="T18" fmla="*/ 108 w 1158"/>
                <a:gd name="T19" fmla="*/ 617 h 1145"/>
                <a:gd name="T20" fmla="*/ 53 w 1158"/>
                <a:gd name="T21" fmla="*/ 447 h 1145"/>
                <a:gd name="T22" fmla="*/ 34 w 1158"/>
                <a:gd name="T23" fmla="*/ 393 h 1145"/>
                <a:gd name="T24" fmla="*/ 122 w 1158"/>
                <a:gd name="T25" fmla="*/ 240 h 1145"/>
                <a:gd name="T26" fmla="*/ 152 w 1158"/>
                <a:gd name="T27" fmla="*/ 242 h 1145"/>
                <a:gd name="T28" fmla="*/ 212 w 1158"/>
                <a:gd name="T29" fmla="*/ 273 h 1145"/>
                <a:gd name="T30" fmla="*/ 291 w 1158"/>
                <a:gd name="T31" fmla="*/ 102 h 1145"/>
                <a:gd name="T32" fmla="*/ 455 w 1158"/>
                <a:gd name="T33" fmla="*/ 2 h 1145"/>
                <a:gd name="T34" fmla="*/ 506 w 1158"/>
                <a:gd name="T35" fmla="*/ 26 h 1145"/>
                <a:gd name="T36" fmla="*/ 580 w 1158"/>
                <a:gd name="T37" fmla="*/ 98 h 1145"/>
                <a:gd name="T38" fmla="*/ 707 w 1158"/>
                <a:gd name="T39" fmla="*/ 41 h 1145"/>
                <a:gd name="T40" fmla="*/ 743 w 1158"/>
                <a:gd name="T41" fmla="*/ 18 h 1145"/>
                <a:gd name="T42" fmla="*/ 893 w 1158"/>
                <a:gd name="T43" fmla="*/ 87 h 1145"/>
                <a:gd name="T44" fmla="*/ 880 w 1158"/>
                <a:gd name="T45" fmla="*/ 206 h 1145"/>
                <a:gd name="T46" fmla="*/ 1050 w 1158"/>
                <a:gd name="T47" fmla="*/ 285 h 1145"/>
                <a:gd name="T48" fmla="*/ 1081 w 1158"/>
                <a:gd name="T49" fmla="*/ 286 h 1145"/>
                <a:gd name="T50" fmla="*/ 1150 w 1158"/>
                <a:gd name="T51" fmla="*/ 447 h 1145"/>
                <a:gd name="T52" fmla="*/ 1051 w 1158"/>
                <a:gd name="T53" fmla="*/ 525 h 1145"/>
                <a:gd name="T54" fmla="*/ 1114 w 1158"/>
                <a:gd name="T55" fmla="*/ 702 h 1145"/>
                <a:gd name="T56" fmla="*/ 1070 w 1158"/>
                <a:gd name="T57" fmla="*/ 888 h 1145"/>
                <a:gd name="T58" fmla="*/ 1034 w 1158"/>
                <a:gd name="T59" fmla="*/ 910 h 1145"/>
                <a:gd name="T60" fmla="*/ 945 w 1158"/>
                <a:gd name="T61" fmla="*/ 872 h 1145"/>
                <a:gd name="T62" fmla="*/ 865 w 1158"/>
                <a:gd name="T63" fmla="*/ 1043 h 1145"/>
                <a:gd name="T64" fmla="*/ 701 w 1158"/>
                <a:gd name="T65" fmla="*/ 1143 h 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8" h="1145">
                  <a:moveTo>
                    <a:pt x="687" y="1145"/>
                  </a:moveTo>
                  <a:cubicBezTo>
                    <a:pt x="671" y="1145"/>
                    <a:pt x="655" y="1135"/>
                    <a:pt x="650" y="1119"/>
                  </a:cubicBezTo>
                  <a:cubicBezTo>
                    <a:pt x="623" y="1043"/>
                    <a:pt x="623" y="1043"/>
                    <a:pt x="623" y="1043"/>
                  </a:cubicBezTo>
                  <a:cubicBezTo>
                    <a:pt x="609" y="1045"/>
                    <a:pt x="594" y="1045"/>
                    <a:pt x="579" y="1045"/>
                  </a:cubicBezTo>
                  <a:cubicBezTo>
                    <a:pt x="546" y="1045"/>
                    <a:pt x="514" y="1042"/>
                    <a:pt x="481" y="1035"/>
                  </a:cubicBezTo>
                  <a:cubicBezTo>
                    <a:pt x="450" y="1102"/>
                    <a:pt x="450" y="1102"/>
                    <a:pt x="450" y="1102"/>
                  </a:cubicBezTo>
                  <a:cubicBezTo>
                    <a:pt x="446" y="1112"/>
                    <a:pt x="438" y="1120"/>
                    <a:pt x="428" y="1123"/>
                  </a:cubicBezTo>
                  <a:cubicBezTo>
                    <a:pt x="423" y="1125"/>
                    <a:pt x="419" y="1126"/>
                    <a:pt x="414" y="1126"/>
                  </a:cubicBezTo>
                  <a:cubicBezTo>
                    <a:pt x="408" y="1126"/>
                    <a:pt x="402" y="1124"/>
                    <a:pt x="397" y="1122"/>
                  </a:cubicBezTo>
                  <a:cubicBezTo>
                    <a:pt x="265" y="1058"/>
                    <a:pt x="265" y="1058"/>
                    <a:pt x="265" y="1058"/>
                  </a:cubicBezTo>
                  <a:cubicBezTo>
                    <a:pt x="245" y="1048"/>
                    <a:pt x="237" y="1025"/>
                    <a:pt x="246" y="1005"/>
                  </a:cubicBezTo>
                  <a:cubicBezTo>
                    <a:pt x="277" y="937"/>
                    <a:pt x="277" y="937"/>
                    <a:pt x="277" y="937"/>
                  </a:cubicBezTo>
                  <a:cubicBezTo>
                    <a:pt x="241" y="906"/>
                    <a:pt x="209" y="871"/>
                    <a:pt x="183" y="831"/>
                  </a:cubicBezTo>
                  <a:cubicBezTo>
                    <a:pt x="107" y="858"/>
                    <a:pt x="107" y="858"/>
                    <a:pt x="107" y="858"/>
                  </a:cubicBezTo>
                  <a:cubicBezTo>
                    <a:pt x="103" y="860"/>
                    <a:pt x="98" y="860"/>
                    <a:pt x="94" y="860"/>
                  </a:cubicBezTo>
                  <a:cubicBezTo>
                    <a:pt x="88" y="860"/>
                    <a:pt x="82" y="859"/>
                    <a:pt x="76" y="856"/>
                  </a:cubicBezTo>
                  <a:cubicBezTo>
                    <a:pt x="67" y="852"/>
                    <a:pt x="59" y="844"/>
                    <a:pt x="56" y="834"/>
                  </a:cubicBezTo>
                  <a:cubicBezTo>
                    <a:pt x="7" y="695"/>
                    <a:pt x="7" y="695"/>
                    <a:pt x="7" y="695"/>
                  </a:cubicBezTo>
                  <a:cubicBezTo>
                    <a:pt x="0" y="675"/>
                    <a:pt x="11" y="652"/>
                    <a:pt x="31" y="644"/>
                  </a:cubicBezTo>
                  <a:cubicBezTo>
                    <a:pt x="108" y="617"/>
                    <a:pt x="108" y="617"/>
                    <a:pt x="108" y="617"/>
                  </a:cubicBezTo>
                  <a:cubicBezTo>
                    <a:pt x="104" y="570"/>
                    <a:pt x="106" y="523"/>
                    <a:pt x="116" y="477"/>
                  </a:cubicBezTo>
                  <a:cubicBezTo>
                    <a:pt x="53" y="447"/>
                    <a:pt x="53" y="447"/>
                    <a:pt x="53" y="447"/>
                  </a:cubicBezTo>
                  <a:cubicBezTo>
                    <a:pt x="43" y="442"/>
                    <a:pt x="36" y="434"/>
                    <a:pt x="33" y="424"/>
                  </a:cubicBezTo>
                  <a:cubicBezTo>
                    <a:pt x="29" y="414"/>
                    <a:pt x="30" y="403"/>
                    <a:pt x="34" y="393"/>
                  </a:cubicBezTo>
                  <a:cubicBezTo>
                    <a:pt x="98" y="261"/>
                    <a:pt x="98" y="261"/>
                    <a:pt x="98" y="261"/>
                  </a:cubicBezTo>
                  <a:cubicBezTo>
                    <a:pt x="103" y="251"/>
                    <a:pt x="111" y="243"/>
                    <a:pt x="122" y="240"/>
                  </a:cubicBezTo>
                  <a:cubicBezTo>
                    <a:pt x="126" y="239"/>
                    <a:pt x="130" y="238"/>
                    <a:pt x="134" y="238"/>
                  </a:cubicBezTo>
                  <a:cubicBezTo>
                    <a:pt x="141" y="238"/>
                    <a:pt x="147" y="239"/>
                    <a:pt x="152" y="242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42" y="236"/>
                    <a:pt x="278" y="204"/>
                    <a:pt x="317" y="178"/>
                  </a:cubicBezTo>
                  <a:cubicBezTo>
                    <a:pt x="291" y="102"/>
                    <a:pt x="291" y="102"/>
                    <a:pt x="291" y="102"/>
                  </a:cubicBezTo>
                  <a:cubicBezTo>
                    <a:pt x="283" y="82"/>
                    <a:pt x="294" y="59"/>
                    <a:pt x="315" y="51"/>
                  </a:cubicBezTo>
                  <a:cubicBezTo>
                    <a:pt x="455" y="2"/>
                    <a:pt x="455" y="2"/>
                    <a:pt x="455" y="2"/>
                  </a:cubicBezTo>
                  <a:cubicBezTo>
                    <a:pt x="459" y="0"/>
                    <a:pt x="464" y="0"/>
                    <a:pt x="468" y="0"/>
                  </a:cubicBezTo>
                  <a:cubicBezTo>
                    <a:pt x="485" y="0"/>
                    <a:pt x="500" y="10"/>
                    <a:pt x="506" y="26"/>
                  </a:cubicBezTo>
                  <a:cubicBezTo>
                    <a:pt x="532" y="101"/>
                    <a:pt x="532" y="101"/>
                    <a:pt x="532" y="101"/>
                  </a:cubicBezTo>
                  <a:cubicBezTo>
                    <a:pt x="548" y="99"/>
                    <a:pt x="564" y="98"/>
                    <a:pt x="580" y="98"/>
                  </a:cubicBezTo>
                  <a:cubicBezTo>
                    <a:pt x="612" y="98"/>
                    <a:pt x="644" y="102"/>
                    <a:pt x="675" y="108"/>
                  </a:cubicBezTo>
                  <a:cubicBezTo>
                    <a:pt x="707" y="41"/>
                    <a:pt x="707" y="41"/>
                    <a:pt x="707" y="41"/>
                  </a:cubicBezTo>
                  <a:cubicBezTo>
                    <a:pt x="712" y="32"/>
                    <a:pt x="720" y="24"/>
                    <a:pt x="730" y="21"/>
                  </a:cubicBezTo>
                  <a:cubicBezTo>
                    <a:pt x="734" y="19"/>
                    <a:pt x="739" y="18"/>
                    <a:pt x="743" y="18"/>
                  </a:cubicBezTo>
                  <a:cubicBezTo>
                    <a:pt x="749" y="18"/>
                    <a:pt x="755" y="20"/>
                    <a:pt x="761" y="22"/>
                  </a:cubicBezTo>
                  <a:cubicBezTo>
                    <a:pt x="893" y="87"/>
                    <a:pt x="893" y="87"/>
                    <a:pt x="893" y="87"/>
                  </a:cubicBezTo>
                  <a:cubicBezTo>
                    <a:pt x="913" y="96"/>
                    <a:pt x="921" y="120"/>
                    <a:pt x="912" y="140"/>
                  </a:cubicBezTo>
                  <a:cubicBezTo>
                    <a:pt x="880" y="206"/>
                    <a:pt x="880" y="206"/>
                    <a:pt x="880" y="206"/>
                  </a:cubicBezTo>
                  <a:cubicBezTo>
                    <a:pt x="917" y="236"/>
                    <a:pt x="949" y="272"/>
                    <a:pt x="975" y="311"/>
                  </a:cubicBezTo>
                  <a:cubicBezTo>
                    <a:pt x="1050" y="285"/>
                    <a:pt x="1050" y="285"/>
                    <a:pt x="1050" y="285"/>
                  </a:cubicBezTo>
                  <a:cubicBezTo>
                    <a:pt x="1055" y="283"/>
                    <a:pt x="1059" y="282"/>
                    <a:pt x="1064" y="282"/>
                  </a:cubicBezTo>
                  <a:cubicBezTo>
                    <a:pt x="1070" y="282"/>
                    <a:pt x="1076" y="284"/>
                    <a:pt x="1081" y="286"/>
                  </a:cubicBezTo>
                  <a:cubicBezTo>
                    <a:pt x="1091" y="291"/>
                    <a:pt x="1098" y="299"/>
                    <a:pt x="1102" y="309"/>
                  </a:cubicBezTo>
                  <a:cubicBezTo>
                    <a:pt x="1150" y="447"/>
                    <a:pt x="1150" y="447"/>
                    <a:pt x="1150" y="447"/>
                  </a:cubicBezTo>
                  <a:cubicBezTo>
                    <a:pt x="1158" y="468"/>
                    <a:pt x="1147" y="491"/>
                    <a:pt x="1126" y="498"/>
                  </a:cubicBezTo>
                  <a:cubicBezTo>
                    <a:pt x="1051" y="525"/>
                    <a:pt x="1051" y="525"/>
                    <a:pt x="1051" y="525"/>
                  </a:cubicBezTo>
                  <a:cubicBezTo>
                    <a:pt x="1055" y="572"/>
                    <a:pt x="1053" y="620"/>
                    <a:pt x="1043" y="667"/>
                  </a:cubicBezTo>
                  <a:cubicBezTo>
                    <a:pt x="1114" y="702"/>
                    <a:pt x="1114" y="702"/>
                    <a:pt x="1114" y="702"/>
                  </a:cubicBezTo>
                  <a:cubicBezTo>
                    <a:pt x="1134" y="711"/>
                    <a:pt x="1142" y="735"/>
                    <a:pt x="1133" y="755"/>
                  </a:cubicBezTo>
                  <a:cubicBezTo>
                    <a:pt x="1070" y="888"/>
                    <a:pt x="1070" y="888"/>
                    <a:pt x="1070" y="888"/>
                  </a:cubicBezTo>
                  <a:cubicBezTo>
                    <a:pt x="1066" y="897"/>
                    <a:pt x="1058" y="905"/>
                    <a:pt x="1048" y="908"/>
                  </a:cubicBezTo>
                  <a:cubicBezTo>
                    <a:pt x="1043" y="910"/>
                    <a:pt x="1039" y="910"/>
                    <a:pt x="1034" y="910"/>
                  </a:cubicBezTo>
                  <a:cubicBezTo>
                    <a:pt x="1028" y="910"/>
                    <a:pt x="1022" y="909"/>
                    <a:pt x="1017" y="907"/>
                  </a:cubicBezTo>
                  <a:cubicBezTo>
                    <a:pt x="945" y="872"/>
                    <a:pt x="945" y="872"/>
                    <a:pt x="945" y="872"/>
                  </a:cubicBezTo>
                  <a:cubicBezTo>
                    <a:pt x="915" y="910"/>
                    <a:pt x="879" y="942"/>
                    <a:pt x="838" y="968"/>
                  </a:cubicBezTo>
                  <a:cubicBezTo>
                    <a:pt x="865" y="1043"/>
                    <a:pt x="865" y="1043"/>
                    <a:pt x="865" y="1043"/>
                  </a:cubicBezTo>
                  <a:cubicBezTo>
                    <a:pt x="872" y="1063"/>
                    <a:pt x="861" y="1086"/>
                    <a:pt x="840" y="1094"/>
                  </a:cubicBezTo>
                  <a:cubicBezTo>
                    <a:pt x="701" y="1143"/>
                    <a:pt x="701" y="1143"/>
                    <a:pt x="701" y="1143"/>
                  </a:cubicBezTo>
                  <a:cubicBezTo>
                    <a:pt x="696" y="1144"/>
                    <a:pt x="692" y="1145"/>
                    <a:pt x="687" y="1145"/>
                  </a:cubicBez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4671243" y="2667349"/>
            <a:ext cx="583174" cy="583174"/>
            <a:chOff x="5217884" y="2057316"/>
            <a:chExt cx="583174" cy="583174"/>
          </a:xfrm>
        </p:grpSpPr>
        <p:sp>
          <p:nvSpPr>
            <p:cNvPr id="77" name="Oval 76"/>
            <p:cNvSpPr>
              <a:spLocks noChangeAspect="1"/>
            </p:cNvSpPr>
            <p:nvPr/>
          </p:nvSpPr>
          <p:spPr>
            <a:xfrm>
              <a:off x="5217884" y="2057316"/>
              <a:ext cx="583174" cy="583174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8" name="Freeform 32"/>
            <p:cNvSpPr>
              <a:spLocks/>
            </p:cNvSpPr>
            <p:nvPr/>
          </p:nvSpPr>
          <p:spPr bwMode="auto">
            <a:xfrm>
              <a:off x="5343350" y="2184624"/>
              <a:ext cx="332242" cy="328558"/>
            </a:xfrm>
            <a:custGeom>
              <a:avLst/>
              <a:gdLst>
                <a:gd name="T0" fmla="*/ 650 w 1158"/>
                <a:gd name="T1" fmla="*/ 1119 h 1145"/>
                <a:gd name="T2" fmla="*/ 579 w 1158"/>
                <a:gd name="T3" fmla="*/ 1045 h 1145"/>
                <a:gd name="T4" fmla="*/ 450 w 1158"/>
                <a:gd name="T5" fmla="*/ 1102 h 1145"/>
                <a:gd name="T6" fmla="*/ 414 w 1158"/>
                <a:gd name="T7" fmla="*/ 1126 h 1145"/>
                <a:gd name="T8" fmla="*/ 265 w 1158"/>
                <a:gd name="T9" fmla="*/ 1058 h 1145"/>
                <a:gd name="T10" fmla="*/ 277 w 1158"/>
                <a:gd name="T11" fmla="*/ 937 h 1145"/>
                <a:gd name="T12" fmla="*/ 107 w 1158"/>
                <a:gd name="T13" fmla="*/ 858 h 1145"/>
                <a:gd name="T14" fmla="*/ 76 w 1158"/>
                <a:gd name="T15" fmla="*/ 856 h 1145"/>
                <a:gd name="T16" fmla="*/ 7 w 1158"/>
                <a:gd name="T17" fmla="*/ 695 h 1145"/>
                <a:gd name="T18" fmla="*/ 108 w 1158"/>
                <a:gd name="T19" fmla="*/ 617 h 1145"/>
                <a:gd name="T20" fmla="*/ 53 w 1158"/>
                <a:gd name="T21" fmla="*/ 447 h 1145"/>
                <a:gd name="T22" fmla="*/ 34 w 1158"/>
                <a:gd name="T23" fmla="*/ 393 h 1145"/>
                <a:gd name="T24" fmla="*/ 122 w 1158"/>
                <a:gd name="T25" fmla="*/ 240 h 1145"/>
                <a:gd name="T26" fmla="*/ 152 w 1158"/>
                <a:gd name="T27" fmla="*/ 242 h 1145"/>
                <a:gd name="T28" fmla="*/ 212 w 1158"/>
                <a:gd name="T29" fmla="*/ 273 h 1145"/>
                <a:gd name="T30" fmla="*/ 291 w 1158"/>
                <a:gd name="T31" fmla="*/ 102 h 1145"/>
                <a:gd name="T32" fmla="*/ 455 w 1158"/>
                <a:gd name="T33" fmla="*/ 2 h 1145"/>
                <a:gd name="T34" fmla="*/ 506 w 1158"/>
                <a:gd name="T35" fmla="*/ 26 h 1145"/>
                <a:gd name="T36" fmla="*/ 580 w 1158"/>
                <a:gd name="T37" fmla="*/ 98 h 1145"/>
                <a:gd name="T38" fmla="*/ 707 w 1158"/>
                <a:gd name="T39" fmla="*/ 41 h 1145"/>
                <a:gd name="T40" fmla="*/ 743 w 1158"/>
                <a:gd name="T41" fmla="*/ 18 h 1145"/>
                <a:gd name="T42" fmla="*/ 893 w 1158"/>
                <a:gd name="T43" fmla="*/ 87 h 1145"/>
                <a:gd name="T44" fmla="*/ 880 w 1158"/>
                <a:gd name="T45" fmla="*/ 206 h 1145"/>
                <a:gd name="T46" fmla="*/ 1050 w 1158"/>
                <a:gd name="T47" fmla="*/ 285 h 1145"/>
                <a:gd name="T48" fmla="*/ 1081 w 1158"/>
                <a:gd name="T49" fmla="*/ 286 h 1145"/>
                <a:gd name="T50" fmla="*/ 1150 w 1158"/>
                <a:gd name="T51" fmla="*/ 447 h 1145"/>
                <a:gd name="T52" fmla="*/ 1051 w 1158"/>
                <a:gd name="T53" fmla="*/ 525 h 1145"/>
                <a:gd name="T54" fmla="*/ 1114 w 1158"/>
                <a:gd name="T55" fmla="*/ 702 h 1145"/>
                <a:gd name="T56" fmla="*/ 1070 w 1158"/>
                <a:gd name="T57" fmla="*/ 888 h 1145"/>
                <a:gd name="T58" fmla="*/ 1034 w 1158"/>
                <a:gd name="T59" fmla="*/ 910 h 1145"/>
                <a:gd name="T60" fmla="*/ 945 w 1158"/>
                <a:gd name="T61" fmla="*/ 872 h 1145"/>
                <a:gd name="T62" fmla="*/ 865 w 1158"/>
                <a:gd name="T63" fmla="*/ 1043 h 1145"/>
                <a:gd name="T64" fmla="*/ 701 w 1158"/>
                <a:gd name="T65" fmla="*/ 1143 h 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8" h="1145">
                  <a:moveTo>
                    <a:pt x="687" y="1145"/>
                  </a:moveTo>
                  <a:cubicBezTo>
                    <a:pt x="671" y="1145"/>
                    <a:pt x="655" y="1135"/>
                    <a:pt x="650" y="1119"/>
                  </a:cubicBezTo>
                  <a:cubicBezTo>
                    <a:pt x="623" y="1043"/>
                    <a:pt x="623" y="1043"/>
                    <a:pt x="623" y="1043"/>
                  </a:cubicBezTo>
                  <a:cubicBezTo>
                    <a:pt x="609" y="1045"/>
                    <a:pt x="594" y="1045"/>
                    <a:pt x="579" y="1045"/>
                  </a:cubicBezTo>
                  <a:cubicBezTo>
                    <a:pt x="546" y="1045"/>
                    <a:pt x="514" y="1042"/>
                    <a:pt x="481" y="1035"/>
                  </a:cubicBezTo>
                  <a:cubicBezTo>
                    <a:pt x="450" y="1102"/>
                    <a:pt x="450" y="1102"/>
                    <a:pt x="450" y="1102"/>
                  </a:cubicBezTo>
                  <a:cubicBezTo>
                    <a:pt x="446" y="1112"/>
                    <a:pt x="438" y="1120"/>
                    <a:pt x="428" y="1123"/>
                  </a:cubicBezTo>
                  <a:cubicBezTo>
                    <a:pt x="423" y="1125"/>
                    <a:pt x="419" y="1126"/>
                    <a:pt x="414" y="1126"/>
                  </a:cubicBezTo>
                  <a:cubicBezTo>
                    <a:pt x="408" y="1126"/>
                    <a:pt x="402" y="1124"/>
                    <a:pt x="397" y="1122"/>
                  </a:cubicBezTo>
                  <a:cubicBezTo>
                    <a:pt x="265" y="1058"/>
                    <a:pt x="265" y="1058"/>
                    <a:pt x="265" y="1058"/>
                  </a:cubicBezTo>
                  <a:cubicBezTo>
                    <a:pt x="245" y="1048"/>
                    <a:pt x="237" y="1025"/>
                    <a:pt x="246" y="1005"/>
                  </a:cubicBezTo>
                  <a:cubicBezTo>
                    <a:pt x="277" y="937"/>
                    <a:pt x="277" y="937"/>
                    <a:pt x="277" y="937"/>
                  </a:cubicBezTo>
                  <a:cubicBezTo>
                    <a:pt x="241" y="906"/>
                    <a:pt x="209" y="871"/>
                    <a:pt x="183" y="831"/>
                  </a:cubicBezTo>
                  <a:cubicBezTo>
                    <a:pt x="107" y="858"/>
                    <a:pt x="107" y="858"/>
                    <a:pt x="107" y="858"/>
                  </a:cubicBezTo>
                  <a:cubicBezTo>
                    <a:pt x="103" y="860"/>
                    <a:pt x="98" y="860"/>
                    <a:pt x="94" y="860"/>
                  </a:cubicBezTo>
                  <a:cubicBezTo>
                    <a:pt x="88" y="860"/>
                    <a:pt x="82" y="859"/>
                    <a:pt x="76" y="856"/>
                  </a:cubicBezTo>
                  <a:cubicBezTo>
                    <a:pt x="67" y="852"/>
                    <a:pt x="59" y="844"/>
                    <a:pt x="56" y="834"/>
                  </a:cubicBezTo>
                  <a:cubicBezTo>
                    <a:pt x="7" y="695"/>
                    <a:pt x="7" y="695"/>
                    <a:pt x="7" y="695"/>
                  </a:cubicBezTo>
                  <a:cubicBezTo>
                    <a:pt x="0" y="675"/>
                    <a:pt x="11" y="652"/>
                    <a:pt x="31" y="644"/>
                  </a:cubicBezTo>
                  <a:cubicBezTo>
                    <a:pt x="108" y="617"/>
                    <a:pt x="108" y="617"/>
                    <a:pt x="108" y="617"/>
                  </a:cubicBezTo>
                  <a:cubicBezTo>
                    <a:pt x="104" y="570"/>
                    <a:pt x="106" y="523"/>
                    <a:pt x="116" y="477"/>
                  </a:cubicBezTo>
                  <a:cubicBezTo>
                    <a:pt x="53" y="447"/>
                    <a:pt x="53" y="447"/>
                    <a:pt x="53" y="447"/>
                  </a:cubicBezTo>
                  <a:cubicBezTo>
                    <a:pt x="43" y="442"/>
                    <a:pt x="36" y="434"/>
                    <a:pt x="33" y="424"/>
                  </a:cubicBezTo>
                  <a:cubicBezTo>
                    <a:pt x="29" y="414"/>
                    <a:pt x="30" y="403"/>
                    <a:pt x="34" y="393"/>
                  </a:cubicBezTo>
                  <a:cubicBezTo>
                    <a:pt x="98" y="261"/>
                    <a:pt x="98" y="261"/>
                    <a:pt x="98" y="261"/>
                  </a:cubicBezTo>
                  <a:cubicBezTo>
                    <a:pt x="103" y="251"/>
                    <a:pt x="111" y="243"/>
                    <a:pt x="122" y="240"/>
                  </a:cubicBezTo>
                  <a:cubicBezTo>
                    <a:pt x="126" y="239"/>
                    <a:pt x="130" y="238"/>
                    <a:pt x="134" y="238"/>
                  </a:cubicBezTo>
                  <a:cubicBezTo>
                    <a:pt x="141" y="238"/>
                    <a:pt x="147" y="239"/>
                    <a:pt x="152" y="242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42" y="236"/>
                    <a:pt x="278" y="204"/>
                    <a:pt x="317" y="178"/>
                  </a:cubicBezTo>
                  <a:cubicBezTo>
                    <a:pt x="291" y="102"/>
                    <a:pt x="291" y="102"/>
                    <a:pt x="291" y="102"/>
                  </a:cubicBezTo>
                  <a:cubicBezTo>
                    <a:pt x="283" y="82"/>
                    <a:pt x="294" y="59"/>
                    <a:pt x="315" y="51"/>
                  </a:cubicBezTo>
                  <a:cubicBezTo>
                    <a:pt x="455" y="2"/>
                    <a:pt x="455" y="2"/>
                    <a:pt x="455" y="2"/>
                  </a:cubicBezTo>
                  <a:cubicBezTo>
                    <a:pt x="459" y="0"/>
                    <a:pt x="464" y="0"/>
                    <a:pt x="468" y="0"/>
                  </a:cubicBezTo>
                  <a:cubicBezTo>
                    <a:pt x="485" y="0"/>
                    <a:pt x="500" y="10"/>
                    <a:pt x="506" y="26"/>
                  </a:cubicBezTo>
                  <a:cubicBezTo>
                    <a:pt x="532" y="101"/>
                    <a:pt x="532" y="101"/>
                    <a:pt x="532" y="101"/>
                  </a:cubicBezTo>
                  <a:cubicBezTo>
                    <a:pt x="548" y="99"/>
                    <a:pt x="564" y="98"/>
                    <a:pt x="580" y="98"/>
                  </a:cubicBezTo>
                  <a:cubicBezTo>
                    <a:pt x="612" y="98"/>
                    <a:pt x="644" y="102"/>
                    <a:pt x="675" y="108"/>
                  </a:cubicBezTo>
                  <a:cubicBezTo>
                    <a:pt x="707" y="41"/>
                    <a:pt x="707" y="41"/>
                    <a:pt x="707" y="41"/>
                  </a:cubicBezTo>
                  <a:cubicBezTo>
                    <a:pt x="712" y="32"/>
                    <a:pt x="720" y="24"/>
                    <a:pt x="730" y="21"/>
                  </a:cubicBezTo>
                  <a:cubicBezTo>
                    <a:pt x="734" y="19"/>
                    <a:pt x="739" y="18"/>
                    <a:pt x="743" y="18"/>
                  </a:cubicBezTo>
                  <a:cubicBezTo>
                    <a:pt x="749" y="18"/>
                    <a:pt x="755" y="20"/>
                    <a:pt x="761" y="22"/>
                  </a:cubicBezTo>
                  <a:cubicBezTo>
                    <a:pt x="893" y="87"/>
                    <a:pt x="893" y="87"/>
                    <a:pt x="893" y="87"/>
                  </a:cubicBezTo>
                  <a:cubicBezTo>
                    <a:pt x="913" y="96"/>
                    <a:pt x="921" y="120"/>
                    <a:pt x="912" y="140"/>
                  </a:cubicBezTo>
                  <a:cubicBezTo>
                    <a:pt x="880" y="206"/>
                    <a:pt x="880" y="206"/>
                    <a:pt x="880" y="206"/>
                  </a:cubicBezTo>
                  <a:cubicBezTo>
                    <a:pt x="917" y="236"/>
                    <a:pt x="949" y="272"/>
                    <a:pt x="975" y="311"/>
                  </a:cubicBezTo>
                  <a:cubicBezTo>
                    <a:pt x="1050" y="285"/>
                    <a:pt x="1050" y="285"/>
                    <a:pt x="1050" y="285"/>
                  </a:cubicBezTo>
                  <a:cubicBezTo>
                    <a:pt x="1055" y="283"/>
                    <a:pt x="1059" y="282"/>
                    <a:pt x="1064" y="282"/>
                  </a:cubicBezTo>
                  <a:cubicBezTo>
                    <a:pt x="1070" y="282"/>
                    <a:pt x="1076" y="284"/>
                    <a:pt x="1081" y="286"/>
                  </a:cubicBezTo>
                  <a:cubicBezTo>
                    <a:pt x="1091" y="291"/>
                    <a:pt x="1098" y="299"/>
                    <a:pt x="1102" y="309"/>
                  </a:cubicBezTo>
                  <a:cubicBezTo>
                    <a:pt x="1150" y="447"/>
                    <a:pt x="1150" y="447"/>
                    <a:pt x="1150" y="447"/>
                  </a:cubicBezTo>
                  <a:cubicBezTo>
                    <a:pt x="1158" y="468"/>
                    <a:pt x="1147" y="491"/>
                    <a:pt x="1126" y="498"/>
                  </a:cubicBezTo>
                  <a:cubicBezTo>
                    <a:pt x="1051" y="525"/>
                    <a:pt x="1051" y="525"/>
                    <a:pt x="1051" y="525"/>
                  </a:cubicBezTo>
                  <a:cubicBezTo>
                    <a:pt x="1055" y="572"/>
                    <a:pt x="1053" y="620"/>
                    <a:pt x="1043" y="667"/>
                  </a:cubicBezTo>
                  <a:cubicBezTo>
                    <a:pt x="1114" y="702"/>
                    <a:pt x="1114" y="702"/>
                    <a:pt x="1114" y="702"/>
                  </a:cubicBezTo>
                  <a:cubicBezTo>
                    <a:pt x="1134" y="711"/>
                    <a:pt x="1142" y="735"/>
                    <a:pt x="1133" y="755"/>
                  </a:cubicBezTo>
                  <a:cubicBezTo>
                    <a:pt x="1070" y="888"/>
                    <a:pt x="1070" y="888"/>
                    <a:pt x="1070" y="888"/>
                  </a:cubicBezTo>
                  <a:cubicBezTo>
                    <a:pt x="1066" y="897"/>
                    <a:pt x="1058" y="905"/>
                    <a:pt x="1048" y="908"/>
                  </a:cubicBezTo>
                  <a:cubicBezTo>
                    <a:pt x="1043" y="910"/>
                    <a:pt x="1039" y="910"/>
                    <a:pt x="1034" y="910"/>
                  </a:cubicBezTo>
                  <a:cubicBezTo>
                    <a:pt x="1028" y="910"/>
                    <a:pt x="1022" y="909"/>
                    <a:pt x="1017" y="907"/>
                  </a:cubicBezTo>
                  <a:cubicBezTo>
                    <a:pt x="945" y="872"/>
                    <a:pt x="945" y="872"/>
                    <a:pt x="945" y="872"/>
                  </a:cubicBezTo>
                  <a:cubicBezTo>
                    <a:pt x="915" y="910"/>
                    <a:pt x="879" y="942"/>
                    <a:pt x="838" y="968"/>
                  </a:cubicBezTo>
                  <a:cubicBezTo>
                    <a:pt x="865" y="1043"/>
                    <a:pt x="865" y="1043"/>
                    <a:pt x="865" y="1043"/>
                  </a:cubicBezTo>
                  <a:cubicBezTo>
                    <a:pt x="872" y="1063"/>
                    <a:pt x="861" y="1086"/>
                    <a:pt x="840" y="1094"/>
                  </a:cubicBezTo>
                  <a:cubicBezTo>
                    <a:pt x="701" y="1143"/>
                    <a:pt x="701" y="1143"/>
                    <a:pt x="701" y="1143"/>
                  </a:cubicBezTo>
                  <a:cubicBezTo>
                    <a:pt x="696" y="1144"/>
                    <a:pt x="692" y="1145"/>
                    <a:pt x="687" y="1145"/>
                  </a:cubicBez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6038415" y="2667349"/>
            <a:ext cx="583174" cy="583174"/>
            <a:chOff x="5217884" y="2057316"/>
            <a:chExt cx="583174" cy="583174"/>
          </a:xfrm>
        </p:grpSpPr>
        <p:sp>
          <p:nvSpPr>
            <p:cNvPr id="80" name="Oval 79"/>
            <p:cNvSpPr>
              <a:spLocks noChangeAspect="1"/>
            </p:cNvSpPr>
            <p:nvPr/>
          </p:nvSpPr>
          <p:spPr>
            <a:xfrm>
              <a:off x="5217884" y="2057316"/>
              <a:ext cx="583174" cy="583174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Freeform 32"/>
            <p:cNvSpPr>
              <a:spLocks/>
            </p:cNvSpPr>
            <p:nvPr/>
          </p:nvSpPr>
          <p:spPr bwMode="auto">
            <a:xfrm>
              <a:off x="5343350" y="2184624"/>
              <a:ext cx="332242" cy="328558"/>
            </a:xfrm>
            <a:custGeom>
              <a:avLst/>
              <a:gdLst>
                <a:gd name="T0" fmla="*/ 650 w 1158"/>
                <a:gd name="T1" fmla="*/ 1119 h 1145"/>
                <a:gd name="T2" fmla="*/ 579 w 1158"/>
                <a:gd name="T3" fmla="*/ 1045 h 1145"/>
                <a:gd name="T4" fmla="*/ 450 w 1158"/>
                <a:gd name="T5" fmla="*/ 1102 h 1145"/>
                <a:gd name="T6" fmla="*/ 414 w 1158"/>
                <a:gd name="T7" fmla="*/ 1126 h 1145"/>
                <a:gd name="T8" fmla="*/ 265 w 1158"/>
                <a:gd name="T9" fmla="*/ 1058 h 1145"/>
                <a:gd name="T10" fmla="*/ 277 w 1158"/>
                <a:gd name="T11" fmla="*/ 937 h 1145"/>
                <a:gd name="T12" fmla="*/ 107 w 1158"/>
                <a:gd name="T13" fmla="*/ 858 h 1145"/>
                <a:gd name="T14" fmla="*/ 76 w 1158"/>
                <a:gd name="T15" fmla="*/ 856 h 1145"/>
                <a:gd name="T16" fmla="*/ 7 w 1158"/>
                <a:gd name="T17" fmla="*/ 695 h 1145"/>
                <a:gd name="T18" fmla="*/ 108 w 1158"/>
                <a:gd name="T19" fmla="*/ 617 h 1145"/>
                <a:gd name="T20" fmla="*/ 53 w 1158"/>
                <a:gd name="T21" fmla="*/ 447 h 1145"/>
                <a:gd name="T22" fmla="*/ 34 w 1158"/>
                <a:gd name="T23" fmla="*/ 393 h 1145"/>
                <a:gd name="T24" fmla="*/ 122 w 1158"/>
                <a:gd name="T25" fmla="*/ 240 h 1145"/>
                <a:gd name="T26" fmla="*/ 152 w 1158"/>
                <a:gd name="T27" fmla="*/ 242 h 1145"/>
                <a:gd name="T28" fmla="*/ 212 w 1158"/>
                <a:gd name="T29" fmla="*/ 273 h 1145"/>
                <a:gd name="T30" fmla="*/ 291 w 1158"/>
                <a:gd name="T31" fmla="*/ 102 h 1145"/>
                <a:gd name="T32" fmla="*/ 455 w 1158"/>
                <a:gd name="T33" fmla="*/ 2 h 1145"/>
                <a:gd name="T34" fmla="*/ 506 w 1158"/>
                <a:gd name="T35" fmla="*/ 26 h 1145"/>
                <a:gd name="T36" fmla="*/ 580 w 1158"/>
                <a:gd name="T37" fmla="*/ 98 h 1145"/>
                <a:gd name="T38" fmla="*/ 707 w 1158"/>
                <a:gd name="T39" fmla="*/ 41 h 1145"/>
                <a:gd name="T40" fmla="*/ 743 w 1158"/>
                <a:gd name="T41" fmla="*/ 18 h 1145"/>
                <a:gd name="T42" fmla="*/ 893 w 1158"/>
                <a:gd name="T43" fmla="*/ 87 h 1145"/>
                <a:gd name="T44" fmla="*/ 880 w 1158"/>
                <a:gd name="T45" fmla="*/ 206 h 1145"/>
                <a:gd name="T46" fmla="*/ 1050 w 1158"/>
                <a:gd name="T47" fmla="*/ 285 h 1145"/>
                <a:gd name="T48" fmla="*/ 1081 w 1158"/>
                <a:gd name="T49" fmla="*/ 286 h 1145"/>
                <a:gd name="T50" fmla="*/ 1150 w 1158"/>
                <a:gd name="T51" fmla="*/ 447 h 1145"/>
                <a:gd name="T52" fmla="*/ 1051 w 1158"/>
                <a:gd name="T53" fmla="*/ 525 h 1145"/>
                <a:gd name="T54" fmla="*/ 1114 w 1158"/>
                <a:gd name="T55" fmla="*/ 702 h 1145"/>
                <a:gd name="T56" fmla="*/ 1070 w 1158"/>
                <a:gd name="T57" fmla="*/ 888 h 1145"/>
                <a:gd name="T58" fmla="*/ 1034 w 1158"/>
                <a:gd name="T59" fmla="*/ 910 h 1145"/>
                <a:gd name="T60" fmla="*/ 945 w 1158"/>
                <a:gd name="T61" fmla="*/ 872 h 1145"/>
                <a:gd name="T62" fmla="*/ 865 w 1158"/>
                <a:gd name="T63" fmla="*/ 1043 h 1145"/>
                <a:gd name="T64" fmla="*/ 701 w 1158"/>
                <a:gd name="T65" fmla="*/ 1143 h 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58" h="1145">
                  <a:moveTo>
                    <a:pt x="687" y="1145"/>
                  </a:moveTo>
                  <a:cubicBezTo>
                    <a:pt x="671" y="1145"/>
                    <a:pt x="655" y="1135"/>
                    <a:pt x="650" y="1119"/>
                  </a:cubicBezTo>
                  <a:cubicBezTo>
                    <a:pt x="623" y="1043"/>
                    <a:pt x="623" y="1043"/>
                    <a:pt x="623" y="1043"/>
                  </a:cubicBezTo>
                  <a:cubicBezTo>
                    <a:pt x="609" y="1045"/>
                    <a:pt x="594" y="1045"/>
                    <a:pt x="579" y="1045"/>
                  </a:cubicBezTo>
                  <a:cubicBezTo>
                    <a:pt x="546" y="1045"/>
                    <a:pt x="514" y="1042"/>
                    <a:pt x="481" y="1035"/>
                  </a:cubicBezTo>
                  <a:cubicBezTo>
                    <a:pt x="450" y="1102"/>
                    <a:pt x="450" y="1102"/>
                    <a:pt x="450" y="1102"/>
                  </a:cubicBezTo>
                  <a:cubicBezTo>
                    <a:pt x="446" y="1112"/>
                    <a:pt x="438" y="1120"/>
                    <a:pt x="428" y="1123"/>
                  </a:cubicBezTo>
                  <a:cubicBezTo>
                    <a:pt x="423" y="1125"/>
                    <a:pt x="419" y="1126"/>
                    <a:pt x="414" y="1126"/>
                  </a:cubicBezTo>
                  <a:cubicBezTo>
                    <a:pt x="408" y="1126"/>
                    <a:pt x="402" y="1124"/>
                    <a:pt x="397" y="1122"/>
                  </a:cubicBezTo>
                  <a:cubicBezTo>
                    <a:pt x="265" y="1058"/>
                    <a:pt x="265" y="1058"/>
                    <a:pt x="265" y="1058"/>
                  </a:cubicBezTo>
                  <a:cubicBezTo>
                    <a:pt x="245" y="1048"/>
                    <a:pt x="237" y="1025"/>
                    <a:pt x="246" y="1005"/>
                  </a:cubicBezTo>
                  <a:cubicBezTo>
                    <a:pt x="277" y="937"/>
                    <a:pt x="277" y="937"/>
                    <a:pt x="277" y="937"/>
                  </a:cubicBezTo>
                  <a:cubicBezTo>
                    <a:pt x="241" y="906"/>
                    <a:pt x="209" y="871"/>
                    <a:pt x="183" y="831"/>
                  </a:cubicBezTo>
                  <a:cubicBezTo>
                    <a:pt x="107" y="858"/>
                    <a:pt x="107" y="858"/>
                    <a:pt x="107" y="858"/>
                  </a:cubicBezTo>
                  <a:cubicBezTo>
                    <a:pt x="103" y="860"/>
                    <a:pt x="98" y="860"/>
                    <a:pt x="94" y="860"/>
                  </a:cubicBezTo>
                  <a:cubicBezTo>
                    <a:pt x="88" y="860"/>
                    <a:pt x="82" y="859"/>
                    <a:pt x="76" y="856"/>
                  </a:cubicBezTo>
                  <a:cubicBezTo>
                    <a:pt x="67" y="852"/>
                    <a:pt x="59" y="844"/>
                    <a:pt x="56" y="834"/>
                  </a:cubicBezTo>
                  <a:cubicBezTo>
                    <a:pt x="7" y="695"/>
                    <a:pt x="7" y="695"/>
                    <a:pt x="7" y="695"/>
                  </a:cubicBezTo>
                  <a:cubicBezTo>
                    <a:pt x="0" y="675"/>
                    <a:pt x="11" y="652"/>
                    <a:pt x="31" y="644"/>
                  </a:cubicBezTo>
                  <a:cubicBezTo>
                    <a:pt x="108" y="617"/>
                    <a:pt x="108" y="617"/>
                    <a:pt x="108" y="617"/>
                  </a:cubicBezTo>
                  <a:cubicBezTo>
                    <a:pt x="104" y="570"/>
                    <a:pt x="106" y="523"/>
                    <a:pt x="116" y="477"/>
                  </a:cubicBezTo>
                  <a:cubicBezTo>
                    <a:pt x="53" y="447"/>
                    <a:pt x="53" y="447"/>
                    <a:pt x="53" y="447"/>
                  </a:cubicBezTo>
                  <a:cubicBezTo>
                    <a:pt x="43" y="442"/>
                    <a:pt x="36" y="434"/>
                    <a:pt x="33" y="424"/>
                  </a:cubicBezTo>
                  <a:cubicBezTo>
                    <a:pt x="29" y="414"/>
                    <a:pt x="30" y="403"/>
                    <a:pt x="34" y="393"/>
                  </a:cubicBezTo>
                  <a:cubicBezTo>
                    <a:pt x="98" y="261"/>
                    <a:pt x="98" y="261"/>
                    <a:pt x="98" y="261"/>
                  </a:cubicBezTo>
                  <a:cubicBezTo>
                    <a:pt x="103" y="251"/>
                    <a:pt x="111" y="243"/>
                    <a:pt x="122" y="240"/>
                  </a:cubicBezTo>
                  <a:cubicBezTo>
                    <a:pt x="126" y="239"/>
                    <a:pt x="130" y="238"/>
                    <a:pt x="134" y="238"/>
                  </a:cubicBezTo>
                  <a:cubicBezTo>
                    <a:pt x="141" y="238"/>
                    <a:pt x="147" y="239"/>
                    <a:pt x="152" y="242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12" y="273"/>
                    <a:pt x="212" y="273"/>
                    <a:pt x="212" y="273"/>
                  </a:cubicBezTo>
                  <a:cubicBezTo>
                    <a:pt x="242" y="236"/>
                    <a:pt x="278" y="204"/>
                    <a:pt x="317" y="178"/>
                  </a:cubicBezTo>
                  <a:cubicBezTo>
                    <a:pt x="291" y="102"/>
                    <a:pt x="291" y="102"/>
                    <a:pt x="291" y="102"/>
                  </a:cubicBezTo>
                  <a:cubicBezTo>
                    <a:pt x="283" y="82"/>
                    <a:pt x="294" y="59"/>
                    <a:pt x="315" y="51"/>
                  </a:cubicBezTo>
                  <a:cubicBezTo>
                    <a:pt x="455" y="2"/>
                    <a:pt x="455" y="2"/>
                    <a:pt x="455" y="2"/>
                  </a:cubicBezTo>
                  <a:cubicBezTo>
                    <a:pt x="459" y="0"/>
                    <a:pt x="464" y="0"/>
                    <a:pt x="468" y="0"/>
                  </a:cubicBezTo>
                  <a:cubicBezTo>
                    <a:pt x="485" y="0"/>
                    <a:pt x="500" y="10"/>
                    <a:pt x="506" y="26"/>
                  </a:cubicBezTo>
                  <a:cubicBezTo>
                    <a:pt x="532" y="101"/>
                    <a:pt x="532" y="101"/>
                    <a:pt x="532" y="101"/>
                  </a:cubicBezTo>
                  <a:cubicBezTo>
                    <a:pt x="548" y="99"/>
                    <a:pt x="564" y="98"/>
                    <a:pt x="580" y="98"/>
                  </a:cubicBezTo>
                  <a:cubicBezTo>
                    <a:pt x="612" y="98"/>
                    <a:pt x="644" y="102"/>
                    <a:pt x="675" y="108"/>
                  </a:cubicBezTo>
                  <a:cubicBezTo>
                    <a:pt x="707" y="41"/>
                    <a:pt x="707" y="41"/>
                    <a:pt x="707" y="41"/>
                  </a:cubicBezTo>
                  <a:cubicBezTo>
                    <a:pt x="712" y="32"/>
                    <a:pt x="720" y="24"/>
                    <a:pt x="730" y="21"/>
                  </a:cubicBezTo>
                  <a:cubicBezTo>
                    <a:pt x="734" y="19"/>
                    <a:pt x="739" y="18"/>
                    <a:pt x="743" y="18"/>
                  </a:cubicBezTo>
                  <a:cubicBezTo>
                    <a:pt x="749" y="18"/>
                    <a:pt x="755" y="20"/>
                    <a:pt x="761" y="22"/>
                  </a:cubicBezTo>
                  <a:cubicBezTo>
                    <a:pt x="893" y="87"/>
                    <a:pt x="893" y="87"/>
                    <a:pt x="893" y="87"/>
                  </a:cubicBezTo>
                  <a:cubicBezTo>
                    <a:pt x="913" y="96"/>
                    <a:pt x="921" y="120"/>
                    <a:pt x="912" y="140"/>
                  </a:cubicBezTo>
                  <a:cubicBezTo>
                    <a:pt x="880" y="206"/>
                    <a:pt x="880" y="206"/>
                    <a:pt x="880" y="206"/>
                  </a:cubicBezTo>
                  <a:cubicBezTo>
                    <a:pt x="917" y="236"/>
                    <a:pt x="949" y="272"/>
                    <a:pt x="975" y="311"/>
                  </a:cubicBezTo>
                  <a:cubicBezTo>
                    <a:pt x="1050" y="285"/>
                    <a:pt x="1050" y="285"/>
                    <a:pt x="1050" y="285"/>
                  </a:cubicBezTo>
                  <a:cubicBezTo>
                    <a:pt x="1055" y="283"/>
                    <a:pt x="1059" y="282"/>
                    <a:pt x="1064" y="282"/>
                  </a:cubicBezTo>
                  <a:cubicBezTo>
                    <a:pt x="1070" y="282"/>
                    <a:pt x="1076" y="284"/>
                    <a:pt x="1081" y="286"/>
                  </a:cubicBezTo>
                  <a:cubicBezTo>
                    <a:pt x="1091" y="291"/>
                    <a:pt x="1098" y="299"/>
                    <a:pt x="1102" y="309"/>
                  </a:cubicBezTo>
                  <a:cubicBezTo>
                    <a:pt x="1150" y="447"/>
                    <a:pt x="1150" y="447"/>
                    <a:pt x="1150" y="447"/>
                  </a:cubicBezTo>
                  <a:cubicBezTo>
                    <a:pt x="1158" y="468"/>
                    <a:pt x="1147" y="491"/>
                    <a:pt x="1126" y="498"/>
                  </a:cubicBezTo>
                  <a:cubicBezTo>
                    <a:pt x="1051" y="525"/>
                    <a:pt x="1051" y="525"/>
                    <a:pt x="1051" y="525"/>
                  </a:cubicBezTo>
                  <a:cubicBezTo>
                    <a:pt x="1055" y="572"/>
                    <a:pt x="1053" y="620"/>
                    <a:pt x="1043" y="667"/>
                  </a:cubicBezTo>
                  <a:cubicBezTo>
                    <a:pt x="1114" y="702"/>
                    <a:pt x="1114" y="702"/>
                    <a:pt x="1114" y="702"/>
                  </a:cubicBezTo>
                  <a:cubicBezTo>
                    <a:pt x="1134" y="711"/>
                    <a:pt x="1142" y="735"/>
                    <a:pt x="1133" y="755"/>
                  </a:cubicBezTo>
                  <a:cubicBezTo>
                    <a:pt x="1070" y="888"/>
                    <a:pt x="1070" y="888"/>
                    <a:pt x="1070" y="888"/>
                  </a:cubicBezTo>
                  <a:cubicBezTo>
                    <a:pt x="1066" y="897"/>
                    <a:pt x="1058" y="905"/>
                    <a:pt x="1048" y="908"/>
                  </a:cubicBezTo>
                  <a:cubicBezTo>
                    <a:pt x="1043" y="910"/>
                    <a:pt x="1039" y="910"/>
                    <a:pt x="1034" y="910"/>
                  </a:cubicBezTo>
                  <a:cubicBezTo>
                    <a:pt x="1028" y="910"/>
                    <a:pt x="1022" y="909"/>
                    <a:pt x="1017" y="907"/>
                  </a:cubicBezTo>
                  <a:cubicBezTo>
                    <a:pt x="945" y="872"/>
                    <a:pt x="945" y="872"/>
                    <a:pt x="945" y="872"/>
                  </a:cubicBezTo>
                  <a:cubicBezTo>
                    <a:pt x="915" y="910"/>
                    <a:pt x="879" y="942"/>
                    <a:pt x="838" y="968"/>
                  </a:cubicBezTo>
                  <a:cubicBezTo>
                    <a:pt x="865" y="1043"/>
                    <a:pt x="865" y="1043"/>
                    <a:pt x="865" y="1043"/>
                  </a:cubicBezTo>
                  <a:cubicBezTo>
                    <a:pt x="872" y="1063"/>
                    <a:pt x="861" y="1086"/>
                    <a:pt x="840" y="1094"/>
                  </a:cubicBezTo>
                  <a:cubicBezTo>
                    <a:pt x="701" y="1143"/>
                    <a:pt x="701" y="1143"/>
                    <a:pt x="701" y="1143"/>
                  </a:cubicBezTo>
                  <a:cubicBezTo>
                    <a:pt x="696" y="1144"/>
                    <a:pt x="692" y="1145"/>
                    <a:pt x="687" y="1145"/>
                  </a:cubicBez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2173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11111E-6 1.35802E-6 L -0.50121 0.00834 " pathEditMode="relative" rAng="0" ptsTypes="AA">
                                          <p:cBhvr>
                                            <p:cTn id="6" dur="10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25035" y="80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5E-6 1.97531E-6 L 0.1493 -0.02685 " pathEditMode="relative" rAng="0" ptsTypes="AA">
                                          <p:cBhvr>
                                            <p:cTn id="8" dur="10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281" y="-6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9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1.66667E-6 1.97531E-6 L -0.24809 -0.15123 " pathEditMode="relative" rAng="0" ptsTypes="AA">
                                          <p:cBhvr>
                                            <p:cTn id="10" dur="1000" fill="hold"/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2465" y="-7407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1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11111E-6 1.97531E-6 L 0.17032 0.19722 " pathEditMode="relative" rAng="0" ptsTypes="AA">
                                          <p:cBhvr>
                                            <p:cTn id="12" dur="10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59" y="9938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3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1.66667E-6 1.35802E-6 L -0.37118 -0.17685 " pathEditMode="relative" rAng="0" ptsTypes="AA">
                                          <p:cBhvr>
                                            <p:cTn id="14" dur="1000" fill="hold"/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8924" y="-830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5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5E-6 1.35802E-6 L -0.46424 0.18488 " pathEditMode="relative" rAng="0" ptsTypes="AA">
                                          <p:cBhvr>
                                            <p:cTn id="16" dur="10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23073" y="94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10" presetClass="exit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9" dur="5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1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22" dur="500"/>
                                            <p:tgtEl>
                                              <p:spTgt spid="6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4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25" dur="500"/>
                                            <p:tgtEl>
                                              <p:spTgt spid="70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7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28" dur="500"/>
                                            <p:tgtEl>
                                              <p:spTgt spid="73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0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31" dur="500"/>
                                            <p:tgtEl>
                                              <p:spTgt spid="76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3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34" dur="500"/>
                                            <p:tgtEl>
                                              <p:spTgt spid="79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8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0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3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4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5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8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9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0" dur="5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3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4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5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6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67" presetID="55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9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0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1" dur="7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42" presetClass="path" presetSubtype="0" fill="hold" grpId="1" nodeType="withEffect" p14:presetBounceEnd="26667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3.05556E-6 3.7037E-7 L 0.13889 -0.00278 " pathEditMode="relative" rAng="0" ptsTypes="AA" p14:bounceEnd="26667">
                                          <p:cBhvr>
                                            <p:cTn id="73" dur="1000" spd="-100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944" y="-15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4" presetID="55" presetClass="entr" presetSubtype="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6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7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8" dur="75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42" presetClass="path" presetSubtype="0" fill="hold" grpId="1" nodeType="withEffect" p14:presetBounceEnd="26667">
                                      <p:stCondLst>
                                        <p:cond delay="250"/>
                                      </p:stCondLst>
                                      <p:childTnLst>
                                        <p:animMotion origin="layout" path="M -4.16667E-6 -1.11111E-6 L -0.13715 0.00278 " pathEditMode="relative" rAng="0" ptsTypes="AA" p14:bounceEnd="26667">
                                          <p:cBhvr>
                                            <p:cTn id="80" dur="1000" spd="-100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6858" y="12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81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3" dur="500"/>
                                            <p:tgtEl>
                                              <p:spTgt spid="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4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8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6" dur="50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7" presetID="10" presetClass="entr" presetSubtype="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9" dur="500"/>
                                            <p:tgtEl>
                                              <p:spTgt spid="5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0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2" dur="500"/>
                                            <p:tgtEl>
                                              <p:spTgt spid="6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3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5" dur="500"/>
                                            <p:tgtEl>
                                              <p:spTgt spid="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 animBg="1"/>
          <p:bldP spid="18" grpId="1" animBg="1"/>
          <p:bldP spid="19" grpId="0" animBg="1"/>
          <p:bldP spid="19" grpId="1" animBg="1"/>
          <p:bldP spid="58" grpId="0" animBg="1"/>
          <p:bldP spid="59" grpId="0" animBg="1"/>
          <p:bldP spid="60" grpId="0" animBg="1"/>
          <p:bldP spid="61" grpId="0" animBg="1"/>
          <p:bldP spid="62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11111E-6 1.35802E-6 L -0.50121 0.00834 " pathEditMode="relative" rAng="0" ptsTypes="AA">
                                          <p:cBhvr>
                                            <p:cTn id="6" dur="10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25035" y="80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5E-6 1.97531E-6 L 0.1493 -0.02685 " pathEditMode="relative" rAng="0" ptsTypes="AA">
                                          <p:cBhvr>
                                            <p:cTn id="8" dur="10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281" y="-6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9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1.66667E-6 1.97531E-6 L -0.24809 -0.15123 " pathEditMode="relative" rAng="0" ptsTypes="AA">
                                          <p:cBhvr>
                                            <p:cTn id="10" dur="1000" fill="hold"/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2465" y="-7407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1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1.11111E-6 1.97531E-6 L 0.17032 0.19722 " pathEditMode="relative" rAng="0" ptsTypes="AA">
                                          <p:cBhvr>
                                            <p:cTn id="12" dur="10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59" y="9938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3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1.66667E-6 1.35802E-6 L -0.37118 -0.17685 " pathEditMode="relative" rAng="0" ptsTypes="AA">
                                          <p:cBhvr>
                                            <p:cTn id="14" dur="1000" fill="hold"/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18924" y="-8302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5" presetID="42" presetClass="pat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2.5E-6 1.35802E-6 L -0.46424 0.18488 " pathEditMode="relative" rAng="0" ptsTypes="AA">
                                          <p:cBhvr>
                                            <p:cTn id="16" dur="1000" fill="hold"/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23073" y="94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8" presetID="10" presetClass="exit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9" dur="5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1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22" dur="500"/>
                                            <p:tgtEl>
                                              <p:spTgt spid="6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4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25" dur="500"/>
                                            <p:tgtEl>
                                              <p:spTgt spid="70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7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27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28" dur="500"/>
                                            <p:tgtEl>
                                              <p:spTgt spid="73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0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31" dur="500"/>
                                            <p:tgtEl>
                                              <p:spTgt spid="76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7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3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34" dur="500"/>
                                            <p:tgtEl>
                                              <p:spTgt spid="79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7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8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0" dur="5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3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4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5" dur="500"/>
                                            <p:tgtEl>
                                              <p:spTgt spid="2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6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8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9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0" dur="5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3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4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5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6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67" presetID="55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9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0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1" dur="7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2" presetID="42" presetClass="pat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3.05556E-6 3.7037E-7 L 0.13889 -0.00278 " pathEditMode="relative" rAng="0" ptsTypes="AA">
                                          <p:cBhvr>
                                            <p:cTn id="73" dur="1000" spd="-100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6944" y="-154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74" presetID="55" presetClass="entr" presetSubtype="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6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*0.7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7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8" dur="75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42" presetClass="path" presetSubtype="0" fill="hold" grpId="1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animMotion origin="layout" path="M -4.16667E-6 -1.11111E-6 L -0.13715 0.00278 " pathEditMode="relative" rAng="0" ptsTypes="AA">
                                          <p:cBhvr>
                                            <p:cTn id="80" dur="1000" spd="-1000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6858" y="12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81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3" dur="500"/>
                                            <p:tgtEl>
                                              <p:spTgt spid="5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4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8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6" dur="500"/>
                                            <p:tgtEl>
                                              <p:spTgt spid="6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7" presetID="10" presetClass="entr" presetSubtype="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9" dur="500"/>
                                            <p:tgtEl>
                                              <p:spTgt spid="5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0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2" dur="500"/>
                                            <p:tgtEl>
                                              <p:spTgt spid="6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3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5" dur="500"/>
                                            <p:tgtEl>
                                              <p:spTgt spid="6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 animBg="1"/>
          <p:bldP spid="18" grpId="1" animBg="1"/>
          <p:bldP spid="19" grpId="0" animBg="1"/>
          <p:bldP spid="19" grpId="1" animBg="1"/>
          <p:bldP spid="58" grpId="0" animBg="1"/>
          <p:bldP spid="59" grpId="0" animBg="1"/>
          <p:bldP spid="60" grpId="0" animBg="1"/>
          <p:bldP spid="61" grpId="0" animBg="1"/>
          <p:bldP spid="62" grpId="0" animBg="1"/>
        </p:bld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100"/>
          <p:cNvGrpSpPr/>
          <p:nvPr/>
        </p:nvGrpSpPr>
        <p:grpSpPr>
          <a:xfrm>
            <a:off x="1978367" y="867898"/>
            <a:ext cx="1307578" cy="1249169"/>
            <a:chOff x="1093195" y="1347614"/>
            <a:chExt cx="1124964" cy="1074712"/>
          </a:xfrm>
        </p:grpSpPr>
        <p:sp>
          <p:nvSpPr>
            <p:cNvPr id="33" name="Oval 32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093195" y="1636727"/>
              <a:ext cx="1124964" cy="4964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GB" sz="1400" dirty="0">
                  <a:solidFill>
                    <a:schemeClr val="bg1"/>
                  </a:solidFill>
                </a:rPr>
                <a:t>Water-</a:t>
              </a:r>
              <a:br>
                <a:rPr lang="en-GB" sz="1400" dirty="0">
                  <a:solidFill>
                    <a:schemeClr val="bg1"/>
                  </a:solidFill>
                </a:rPr>
              </a:br>
              <a:r>
                <a:rPr lang="en-GB" sz="1400" dirty="0">
                  <a:solidFill>
                    <a:schemeClr val="bg1"/>
                  </a:solidFill>
                </a:rPr>
                <a:t>based</a:t>
              </a:r>
              <a:br>
                <a:rPr lang="en-GB" sz="1400" dirty="0">
                  <a:solidFill>
                    <a:schemeClr val="bg1"/>
                  </a:solidFill>
                </a:rPr>
              </a:br>
              <a:r>
                <a:rPr lang="en-GB" sz="1400" dirty="0">
                  <a:solidFill>
                    <a:schemeClr val="bg1"/>
                  </a:solidFill>
                </a:rPr>
                <a:t>inks</a:t>
              </a:r>
            </a:p>
          </p:txBody>
        </p:sp>
      </p:grpSp>
      <p:grpSp>
        <p:nvGrpSpPr>
          <p:cNvPr id="35" name="Group 100"/>
          <p:cNvGrpSpPr/>
          <p:nvPr/>
        </p:nvGrpSpPr>
        <p:grpSpPr>
          <a:xfrm>
            <a:off x="734478" y="1313010"/>
            <a:ext cx="1544122" cy="1475146"/>
            <a:chOff x="1093195" y="1347614"/>
            <a:chExt cx="1124964" cy="1074712"/>
          </a:xfrm>
        </p:grpSpPr>
        <p:sp>
          <p:nvSpPr>
            <p:cNvPr id="36" name="Oval 35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093195" y="1674755"/>
              <a:ext cx="1124964" cy="420430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US" sz="1400" dirty="0">
                  <a:solidFill>
                    <a:schemeClr val="bg1"/>
                  </a:solidFill>
                </a:rPr>
                <a:t>Water-based Electron Beam (EB) cured inks</a:t>
              </a:r>
            </a:p>
          </p:txBody>
        </p:sp>
      </p:grpSp>
      <p:grpSp>
        <p:nvGrpSpPr>
          <p:cNvPr id="38" name="Group 100"/>
          <p:cNvGrpSpPr/>
          <p:nvPr/>
        </p:nvGrpSpPr>
        <p:grpSpPr>
          <a:xfrm>
            <a:off x="421845" y="2449740"/>
            <a:ext cx="1157706" cy="1105992"/>
            <a:chOff x="1093195" y="1347614"/>
            <a:chExt cx="1124964" cy="1074712"/>
          </a:xfrm>
        </p:grpSpPr>
        <p:sp>
          <p:nvSpPr>
            <p:cNvPr id="39" name="Oval 38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093195" y="1761603"/>
              <a:ext cx="1124964" cy="246735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GB" sz="1400" dirty="0" err="1">
                  <a:solidFill>
                    <a:schemeClr val="bg1"/>
                  </a:solidFill>
                </a:rPr>
                <a:t>Wetflex</a:t>
              </a:r>
              <a:endParaRPr lang="en-GB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1" name="Group 100"/>
          <p:cNvGrpSpPr/>
          <p:nvPr/>
        </p:nvGrpSpPr>
        <p:grpSpPr>
          <a:xfrm>
            <a:off x="6770413" y="1307849"/>
            <a:ext cx="1725405" cy="1648331"/>
            <a:chOff x="1093195" y="1347614"/>
            <a:chExt cx="1124964" cy="1074712"/>
          </a:xfrm>
        </p:grpSpPr>
        <p:sp>
          <p:nvSpPr>
            <p:cNvPr id="42" name="Oval 41"/>
            <p:cNvSpPr/>
            <p:nvPr/>
          </p:nvSpPr>
          <p:spPr>
            <a:xfrm>
              <a:off x="1118320" y="1347614"/>
              <a:ext cx="1074712" cy="1074712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093195" y="1749371"/>
              <a:ext cx="1124964" cy="271198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>
                <a:lnSpc>
                  <a:spcPct val="75000"/>
                </a:lnSpc>
              </a:pPr>
              <a:r>
                <a:rPr lang="en-US" sz="1400" dirty="0">
                  <a:solidFill>
                    <a:schemeClr val="bg1"/>
                  </a:solidFill>
                </a:rPr>
                <a:t>Electron Beam (EB) cured inks</a:t>
              </a:r>
            </a:p>
          </p:txBody>
        </p:sp>
      </p:grpSp>
      <p:sp>
        <p:nvSpPr>
          <p:cNvPr id="25" name="Rectangle 24"/>
          <p:cNvSpPr/>
          <p:nvPr/>
        </p:nvSpPr>
        <p:spPr>
          <a:xfrm>
            <a:off x="395288" y="843274"/>
            <a:ext cx="8748712" cy="31556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" name="Group 29"/>
          <p:cNvGrpSpPr/>
          <p:nvPr/>
        </p:nvGrpSpPr>
        <p:grpSpPr>
          <a:xfrm>
            <a:off x="2328162" y="261258"/>
            <a:ext cx="4352725" cy="4311863"/>
            <a:chOff x="2328162" y="261258"/>
            <a:chExt cx="4352725" cy="4311863"/>
          </a:xfrm>
        </p:grpSpPr>
        <p:sp>
          <p:nvSpPr>
            <p:cNvPr id="26" name="Oval 25"/>
            <p:cNvSpPr/>
            <p:nvPr/>
          </p:nvSpPr>
          <p:spPr>
            <a:xfrm>
              <a:off x="2328162" y="1301756"/>
              <a:ext cx="2229788" cy="22297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Oval 26"/>
            <p:cNvSpPr/>
            <p:nvPr/>
          </p:nvSpPr>
          <p:spPr>
            <a:xfrm>
              <a:off x="3395158" y="261258"/>
              <a:ext cx="2229788" cy="22297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8" name="Oval 27"/>
            <p:cNvSpPr/>
            <p:nvPr/>
          </p:nvSpPr>
          <p:spPr>
            <a:xfrm>
              <a:off x="4451099" y="1301756"/>
              <a:ext cx="2229788" cy="22297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/>
            <p:nvPr/>
          </p:nvSpPr>
          <p:spPr>
            <a:xfrm>
              <a:off x="3395158" y="2343337"/>
              <a:ext cx="2229788" cy="22297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0" name="Oval 19"/>
          <p:cNvSpPr/>
          <p:nvPr/>
        </p:nvSpPr>
        <p:spPr>
          <a:xfrm>
            <a:off x="2418315" y="1407978"/>
            <a:ext cx="2049482" cy="2049478"/>
          </a:xfrm>
          <a:prstGeom prst="ellipse">
            <a:avLst/>
          </a:prstGeom>
          <a:noFill/>
          <a:ln w="25400">
            <a:gradFill flip="none" rotWithShape="1">
              <a:gsLst>
                <a:gs pos="3400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bg1">
                    <a:lumMod val="75000"/>
                    <a:alpha val="4200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3485311" y="367480"/>
            <a:ext cx="2049482" cy="2049478"/>
          </a:xfrm>
          <a:prstGeom prst="ellipse">
            <a:avLst/>
          </a:prstGeom>
          <a:noFill/>
          <a:ln w="25400">
            <a:gradFill flip="none" rotWithShape="1">
              <a:gsLst>
                <a:gs pos="3400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bg1">
                    <a:lumMod val="75000"/>
                    <a:alpha val="42000"/>
                  </a:schemeClr>
                </a:gs>
              </a:gsLst>
              <a:lin ang="13500000" scaled="1"/>
              <a:tileRect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4541252" y="1407978"/>
            <a:ext cx="2049482" cy="2049478"/>
          </a:xfrm>
          <a:prstGeom prst="ellipse">
            <a:avLst/>
          </a:prstGeom>
          <a:noFill/>
          <a:ln w="25400">
            <a:gradFill flip="none" rotWithShape="1">
              <a:gsLst>
                <a:gs pos="3400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bg1">
                    <a:lumMod val="75000"/>
                    <a:alpha val="42000"/>
                  </a:schemeClr>
                </a:gs>
              </a:gsLst>
              <a:lin ang="18900000" scaled="1"/>
              <a:tileRect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3485311" y="2449559"/>
            <a:ext cx="2049482" cy="2049478"/>
          </a:xfrm>
          <a:prstGeom prst="ellipse">
            <a:avLst/>
          </a:prstGeom>
          <a:noFill/>
          <a:ln w="25400">
            <a:gradFill flip="none" rotWithShape="1">
              <a:gsLst>
                <a:gs pos="3400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bg1">
                    <a:lumMod val="75000"/>
                    <a:alpha val="42000"/>
                  </a:schemeClr>
                </a:gs>
              </a:gsLst>
              <a:lin ang="2700000" scaled="1"/>
              <a:tileRect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Oval 3"/>
          <p:cNvSpPr/>
          <p:nvPr/>
        </p:nvSpPr>
        <p:spPr>
          <a:xfrm>
            <a:off x="2512126" y="1485719"/>
            <a:ext cx="1861859" cy="1861857"/>
          </a:xfrm>
          <a:prstGeom prst="ellipse">
            <a:avLst/>
          </a:prstGeom>
          <a:solidFill>
            <a:schemeClr val="accent2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584150" y="2000893"/>
            <a:ext cx="1381349" cy="83151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en-US" sz="1600" dirty="0">
                <a:solidFill>
                  <a:schemeClr val="bg1"/>
                </a:solidFill>
              </a:rPr>
              <a:t>Water-based Electron Beam (EB) cured inks</a:t>
            </a:r>
          </a:p>
        </p:txBody>
      </p:sp>
      <p:sp>
        <p:nvSpPr>
          <p:cNvPr id="7" name="Oval 6"/>
          <p:cNvSpPr/>
          <p:nvPr/>
        </p:nvSpPr>
        <p:spPr>
          <a:xfrm>
            <a:off x="3579122" y="445221"/>
            <a:ext cx="1861859" cy="1861857"/>
          </a:xfrm>
          <a:prstGeom prst="ellipse">
            <a:avLst/>
          </a:prstGeom>
          <a:solidFill>
            <a:schemeClr val="accent3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819377" y="806988"/>
            <a:ext cx="1381349" cy="6468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en-GB" sz="1600" dirty="0">
                <a:solidFill>
                  <a:schemeClr val="bg1"/>
                </a:solidFill>
              </a:rPr>
              <a:t>Water-</a:t>
            </a:r>
            <a:br>
              <a:rPr lang="en-GB" sz="1600" dirty="0">
                <a:solidFill>
                  <a:schemeClr val="bg1"/>
                </a:solidFill>
              </a:rPr>
            </a:br>
            <a:r>
              <a:rPr lang="en-GB" sz="1600" dirty="0">
                <a:solidFill>
                  <a:schemeClr val="bg1"/>
                </a:solidFill>
              </a:rPr>
              <a:t>based</a:t>
            </a:r>
            <a:br>
              <a:rPr lang="en-GB" sz="1600" dirty="0">
                <a:solidFill>
                  <a:schemeClr val="bg1"/>
                </a:solidFill>
              </a:rPr>
            </a:br>
            <a:r>
              <a:rPr lang="en-GB" sz="1600" dirty="0">
                <a:solidFill>
                  <a:schemeClr val="bg1"/>
                </a:solidFill>
              </a:rPr>
              <a:t>inks</a:t>
            </a:r>
          </a:p>
        </p:txBody>
      </p:sp>
      <p:sp>
        <p:nvSpPr>
          <p:cNvPr id="10" name="Oval 9"/>
          <p:cNvSpPr/>
          <p:nvPr/>
        </p:nvSpPr>
        <p:spPr>
          <a:xfrm>
            <a:off x="4635063" y="1485719"/>
            <a:ext cx="1861859" cy="186185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5099519" y="2094226"/>
            <a:ext cx="1381349" cy="64684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en-US" sz="1600" dirty="0">
                <a:solidFill>
                  <a:schemeClr val="bg1"/>
                </a:solidFill>
              </a:rPr>
              <a:t>Electron Beam (EB) cured inks</a:t>
            </a:r>
          </a:p>
        </p:txBody>
      </p:sp>
      <p:sp>
        <p:nvSpPr>
          <p:cNvPr id="13" name="Oval 12"/>
          <p:cNvSpPr/>
          <p:nvPr/>
        </p:nvSpPr>
        <p:spPr>
          <a:xfrm>
            <a:off x="3579122" y="2527300"/>
            <a:ext cx="1861859" cy="1861857"/>
          </a:xfrm>
          <a:prstGeom prst="ellipse">
            <a:avLst/>
          </a:prstGeom>
          <a:solidFill>
            <a:schemeClr val="tx2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3819378" y="3580146"/>
            <a:ext cx="1381349" cy="277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5000"/>
              </a:lnSpc>
            </a:pPr>
            <a:r>
              <a:rPr lang="en-GB" sz="1600" dirty="0" err="1">
                <a:solidFill>
                  <a:schemeClr val="bg1"/>
                </a:solidFill>
              </a:rPr>
              <a:t>Wetflex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3684" y="2231981"/>
            <a:ext cx="14927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The Menu…</a:t>
            </a:r>
          </a:p>
        </p:txBody>
      </p:sp>
    </p:spTree>
    <p:extLst>
      <p:ext uri="{BB962C8B-B14F-4D97-AF65-F5344CB8AC3E}">
        <p14:creationId xmlns:p14="http://schemas.microsoft.com/office/powerpoint/2010/main" val="992737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-3.45679E-6 L 0.20538 -0.02284 " pathEditMode="relative" rAng="0" ptsTypes="AA">
                                      <p:cBhvr>
                                        <p:cTn id="6" dur="1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122" y="-129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3.20988E-6 L 0.21163 0.0713 " pathEditMode="relative" rAng="0" ptsTypes="AA">
                                      <p:cBhvr>
                                        <p:cTn id="8" dur="1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233" y="416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1.97531E-6 L 0.38385 0.08858 " pathEditMode="relative" rAng="0" ptsTypes="AA">
                                      <p:cBhvr>
                                        <p:cTn id="10" dur="1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941" y="438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82716E-6 L -0.22604 0.05524 " pathEditMode="relative" rAng="0" ptsTypes="AA">
                                      <p:cBhvr>
                                        <p:cTn id="12" dur="1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226" y="2747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" presetClass="entr" presetSubtype="2" decel="44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1" presetClass="entr" presetSubtype="1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1" presetClass="entr" presetSubtype="1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1" presetClass="entr" presetSubtype="1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1" presetClass="entr" presetSubtype="1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0" grpId="0" animBg="1"/>
      <p:bldP spid="21" grpId="0" animBg="1"/>
      <p:bldP spid="22" grpId="0" animBg="1"/>
      <p:bldP spid="23" grpId="0" animBg="1"/>
      <p:bldP spid="4" grpId="1" animBg="1"/>
      <p:bldP spid="5" grpId="0"/>
      <p:bldP spid="7" grpId="1" animBg="1"/>
      <p:bldP spid="8" grpId="0"/>
      <p:bldP spid="10" grpId="1" animBg="1"/>
      <p:bldP spid="11" grpId="0"/>
      <p:bldP spid="13" grpId="1" animBg="1"/>
      <p:bldP spid="14" grpId="0"/>
      <p:bldP spid="2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387999" y="735639"/>
            <a:ext cx="7444267" cy="852633"/>
          </a:xfrm>
          <a:prstGeom prst="rect">
            <a:avLst/>
          </a:prstGeom>
        </p:spPr>
        <p:txBody>
          <a:bodyPr vert="horz" lIns="91408" tIns="45704" rIns="91408" bIns="45704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i="0" kern="1200">
                <a:solidFill>
                  <a:srgbClr val="EA1D20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404" dirty="0">
                <a:solidFill>
                  <a:prstClr val="white"/>
                </a:solidFill>
              </a:rPr>
              <a:t>a</a:t>
            </a:r>
            <a:endParaRPr lang="en-US" sz="1503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79467" y="825284"/>
            <a:ext cx="8000149" cy="3868399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The total use of inks and coatings in the European flexible packaging industry is estimated to ~200,000 tons per year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Less than 10,000 tons are WB (~5%)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Full conversion of plants to WB inks has only been done in the PE converting industry (for garbage and mailing bags for instance)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No major generalist converters have fully migrated to WB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WB inks are less polyvalent than SB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Negative impact on press speed, especially with backing white</a:t>
            </a:r>
          </a:p>
          <a:p>
            <a:pPr marL="742718" lvl="1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3" dirty="0">
                <a:solidFill>
                  <a:srgbClr val="5B5B5B"/>
                </a:solidFill>
                <a:latin typeface="Arial"/>
                <a:cs typeface="Arial"/>
              </a:rPr>
              <a:t>Regulations have not reached a point where SB are no longer suitable</a:t>
            </a:r>
          </a:p>
          <a:p>
            <a:pPr marL="285660" indent="-28566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503" dirty="0">
              <a:solidFill>
                <a:srgbClr val="5B5B5B"/>
              </a:solidFill>
              <a:latin typeface="Arial"/>
              <a:cs typeface="Arial"/>
            </a:endParaRPr>
          </a:p>
        </p:txBody>
      </p:sp>
      <p:sp>
        <p:nvSpPr>
          <p:cNvPr id="5" name="Titr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Overall Statement Europe</a:t>
            </a:r>
          </a:p>
        </p:txBody>
      </p:sp>
    </p:spTree>
    <p:extLst>
      <p:ext uri="{BB962C8B-B14F-4D97-AF65-F5344CB8AC3E}">
        <p14:creationId xmlns:p14="http://schemas.microsoft.com/office/powerpoint/2010/main" val="140707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novation1a.psd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6407"/>
            <a:ext cx="9144000" cy="513977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4330" y="3731284"/>
            <a:ext cx="5704703" cy="1834896"/>
          </a:xfrm>
        </p:spPr>
        <p:txBody>
          <a:bodyPr/>
          <a:lstStyle/>
          <a:p>
            <a:pPr algn="l"/>
            <a:r>
              <a:rPr lang="en-US" sz="2400" b="1" dirty="0"/>
              <a:t>Applications </a:t>
            </a:r>
            <a:r>
              <a:rPr lang="en-US" sz="2400" b="1" dirty="0" smtClean="0"/>
              <a:t>Space</a:t>
            </a:r>
            <a:r>
              <a:rPr lang="hr-HR" sz="2400" b="1" dirty="0" smtClean="0"/>
              <a:t> Water </a:t>
            </a:r>
            <a:r>
              <a:rPr lang="hr-HR" sz="2400" b="1" dirty="0" err="1" smtClean="0"/>
              <a:t>Based</a:t>
            </a:r>
            <a:r>
              <a:rPr lang="hr-HR" sz="2400" b="1" dirty="0" smtClean="0"/>
              <a:t> </a:t>
            </a:r>
            <a:r>
              <a:rPr lang="hr-HR" sz="2400" b="1" dirty="0" err="1" smtClean="0"/>
              <a:t>Inks</a:t>
            </a:r>
            <a:r>
              <a:rPr lang="hr-HR" sz="2400" b="1" dirty="0" smtClean="0"/>
              <a:t> for </a:t>
            </a:r>
            <a:r>
              <a:rPr lang="hr-HR" sz="2400" b="1" dirty="0" err="1" smtClean="0"/>
              <a:t>flexible</a:t>
            </a:r>
            <a:r>
              <a:rPr lang="hr-HR" sz="2400" b="1" dirty="0" smtClean="0"/>
              <a:t> </a:t>
            </a:r>
            <a:r>
              <a:rPr lang="hr-HR" sz="2400" b="1" dirty="0" err="1" smtClean="0"/>
              <a:t>packaging</a:t>
            </a:r>
            <a:r>
              <a:rPr lang="hr-HR" sz="2400" b="1" dirty="0" smtClean="0"/>
              <a:t/>
            </a:r>
            <a:br>
              <a:rPr lang="hr-HR" sz="2400" b="1" dirty="0" smtClean="0"/>
            </a:b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4741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avec flèche 6"/>
          <p:cNvCxnSpPr>
            <a:endCxn id="25" idx="2"/>
          </p:cNvCxnSpPr>
          <p:nvPr/>
        </p:nvCxnSpPr>
        <p:spPr bwMode="auto">
          <a:xfrm>
            <a:off x="4345246" y="2313486"/>
            <a:ext cx="2664025" cy="1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CC66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9" name="Connecteur droit avec flèche 8"/>
          <p:cNvCxnSpPr/>
          <p:nvPr/>
        </p:nvCxnSpPr>
        <p:spPr bwMode="auto">
          <a:xfrm flipV="1">
            <a:off x="4391628" y="1207047"/>
            <a:ext cx="594078" cy="1083375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CC66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" name="Ellipse 10"/>
          <p:cNvSpPr/>
          <p:nvPr/>
        </p:nvSpPr>
        <p:spPr bwMode="auto">
          <a:xfrm>
            <a:off x="6620300" y="644542"/>
            <a:ext cx="1430923" cy="804476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ＭＳ Ｐゴシック" pitchFamily="48" charset="-128"/>
              </a:rPr>
              <a:t>Carrier bags </a:t>
            </a:r>
          </a:p>
        </p:txBody>
      </p:sp>
      <p:sp>
        <p:nvSpPr>
          <p:cNvPr id="12" name="Ellipse 11"/>
          <p:cNvSpPr/>
          <p:nvPr/>
        </p:nvSpPr>
        <p:spPr bwMode="auto">
          <a:xfrm>
            <a:off x="6645551" y="2571750"/>
            <a:ext cx="1497454" cy="804476"/>
          </a:xfrm>
          <a:prstGeom prst="ellipse">
            <a:avLst/>
          </a:prstGeom>
          <a:solidFill>
            <a:srgbClr val="D2A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48" charset="-128"/>
              </a:rPr>
              <a:t>Magazine wrap</a:t>
            </a:r>
          </a:p>
        </p:txBody>
      </p:sp>
      <p:sp>
        <p:nvSpPr>
          <p:cNvPr id="13" name="Ellipse 12"/>
          <p:cNvSpPr/>
          <p:nvPr/>
        </p:nvSpPr>
        <p:spPr bwMode="auto">
          <a:xfrm>
            <a:off x="1970008" y="402572"/>
            <a:ext cx="1430923" cy="804476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ＭＳ Ｐゴシック" pitchFamily="48" charset="-128"/>
              </a:rPr>
              <a:t>In-line extruded PE bags</a:t>
            </a:r>
          </a:p>
        </p:txBody>
      </p:sp>
      <p:sp>
        <p:nvSpPr>
          <p:cNvPr id="14" name="Ellipse 13"/>
          <p:cNvSpPr/>
          <p:nvPr/>
        </p:nvSpPr>
        <p:spPr bwMode="auto">
          <a:xfrm>
            <a:off x="778731" y="593446"/>
            <a:ext cx="1430923" cy="804476"/>
          </a:xfrm>
          <a:prstGeom prst="ellipse">
            <a:avLst/>
          </a:prstGeom>
          <a:solidFill>
            <a:srgbClr val="D2A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48" charset="-128"/>
              </a:rPr>
              <a:t>Cups, plates</a:t>
            </a:r>
          </a:p>
        </p:txBody>
      </p:sp>
      <p:sp>
        <p:nvSpPr>
          <p:cNvPr id="15" name="Ellipse 14"/>
          <p:cNvSpPr/>
          <p:nvPr/>
        </p:nvSpPr>
        <p:spPr bwMode="auto">
          <a:xfrm>
            <a:off x="7078716" y="1263323"/>
            <a:ext cx="1447468" cy="759079"/>
          </a:xfrm>
          <a:prstGeom prst="ellipse">
            <a:avLst/>
          </a:prstGeom>
          <a:solidFill>
            <a:srgbClr val="FFD75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ＭＳ Ｐゴシック" pitchFamily="48" charset="-128"/>
              </a:rPr>
              <a:t>Non-woven</a:t>
            </a:r>
          </a:p>
        </p:txBody>
      </p:sp>
      <p:sp>
        <p:nvSpPr>
          <p:cNvPr id="16" name="Ellipse 15"/>
          <p:cNvSpPr/>
          <p:nvPr/>
        </p:nvSpPr>
        <p:spPr bwMode="auto">
          <a:xfrm>
            <a:off x="557678" y="1945599"/>
            <a:ext cx="1430923" cy="804476"/>
          </a:xfrm>
          <a:prstGeom prst="ellipse">
            <a:avLst/>
          </a:prstGeom>
          <a:solidFill>
            <a:srgbClr val="D2A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48" charset="-128"/>
              </a:rPr>
              <a:t>OK Compost bags</a:t>
            </a:r>
          </a:p>
        </p:txBody>
      </p:sp>
      <p:sp>
        <p:nvSpPr>
          <p:cNvPr id="17" name="Ellipse 16"/>
          <p:cNvSpPr/>
          <p:nvPr/>
        </p:nvSpPr>
        <p:spPr bwMode="auto">
          <a:xfrm>
            <a:off x="5945548" y="3863319"/>
            <a:ext cx="1430923" cy="804476"/>
          </a:xfrm>
          <a:prstGeom prst="ellipse">
            <a:avLst/>
          </a:prstGeom>
          <a:solidFill>
            <a:srgbClr val="2FC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ea typeface="ＭＳ Ｐゴシック" pitchFamily="48" charset="-128"/>
              </a:rPr>
              <a:t>Shrink sleeves</a:t>
            </a:r>
          </a:p>
        </p:txBody>
      </p:sp>
      <p:sp>
        <p:nvSpPr>
          <p:cNvPr id="18" name="Ellipse 17"/>
          <p:cNvSpPr/>
          <p:nvPr/>
        </p:nvSpPr>
        <p:spPr bwMode="auto">
          <a:xfrm>
            <a:off x="4731883" y="4147743"/>
            <a:ext cx="1558913" cy="804476"/>
          </a:xfrm>
          <a:prstGeom prst="ellipse">
            <a:avLst/>
          </a:prstGeom>
          <a:solidFill>
            <a:srgbClr val="0097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48" charset="-128"/>
              </a:rPr>
              <a:t>Laminated food pouches</a:t>
            </a:r>
          </a:p>
        </p:txBody>
      </p:sp>
      <p:sp>
        <p:nvSpPr>
          <p:cNvPr id="19" name="Ellipse 18"/>
          <p:cNvSpPr/>
          <p:nvPr/>
        </p:nvSpPr>
        <p:spPr bwMode="auto">
          <a:xfrm>
            <a:off x="358302" y="1207048"/>
            <a:ext cx="1430923" cy="804476"/>
          </a:xfrm>
          <a:prstGeom prst="ellipse">
            <a:avLst/>
          </a:prstGeom>
          <a:solidFill>
            <a:srgbClr val="FFD75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ＭＳ Ｐゴシック" pitchFamily="48" charset="-128"/>
              </a:rPr>
              <a:t>Deep freeze pouches</a:t>
            </a:r>
          </a:p>
        </p:txBody>
      </p:sp>
      <p:sp>
        <p:nvSpPr>
          <p:cNvPr id="20" name="Ellipse 19"/>
          <p:cNvSpPr/>
          <p:nvPr/>
        </p:nvSpPr>
        <p:spPr bwMode="auto">
          <a:xfrm>
            <a:off x="996902" y="3026990"/>
            <a:ext cx="1496054" cy="804476"/>
          </a:xfrm>
          <a:prstGeom prst="ellipse">
            <a:avLst/>
          </a:prstGeom>
          <a:solidFill>
            <a:srgbClr val="6CA62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48" charset="-128"/>
              </a:rPr>
              <a:t>Butter packaging</a:t>
            </a:r>
          </a:p>
        </p:txBody>
      </p:sp>
      <p:sp>
        <p:nvSpPr>
          <p:cNvPr id="21" name="Ellipse 20"/>
          <p:cNvSpPr/>
          <p:nvPr/>
        </p:nvSpPr>
        <p:spPr bwMode="auto">
          <a:xfrm>
            <a:off x="5595106" y="242304"/>
            <a:ext cx="1430923" cy="804476"/>
          </a:xfrm>
          <a:prstGeom prst="ellipse">
            <a:avLst/>
          </a:prstGeom>
          <a:solidFill>
            <a:srgbClr val="D2A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48" charset="-128"/>
              </a:rPr>
              <a:t>Garbage bags </a:t>
            </a:r>
          </a:p>
        </p:txBody>
      </p:sp>
      <p:sp>
        <p:nvSpPr>
          <p:cNvPr id="22" name="Ellipse 21"/>
          <p:cNvSpPr/>
          <p:nvPr/>
        </p:nvSpPr>
        <p:spPr bwMode="auto">
          <a:xfrm>
            <a:off x="3216063" y="228849"/>
            <a:ext cx="1430923" cy="804476"/>
          </a:xfrm>
          <a:prstGeom prst="ellipse">
            <a:avLst/>
          </a:prstGeom>
          <a:solidFill>
            <a:srgbClr val="FFD75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ＭＳ Ｐゴシック" pitchFamily="48" charset="-128"/>
              </a:rPr>
              <a:t>Diapers, towels wrap</a:t>
            </a:r>
          </a:p>
        </p:txBody>
      </p:sp>
      <p:sp>
        <p:nvSpPr>
          <p:cNvPr id="23" name="Ellipse 22"/>
          <p:cNvSpPr/>
          <p:nvPr/>
        </p:nvSpPr>
        <p:spPr bwMode="auto">
          <a:xfrm>
            <a:off x="3550246" y="4163780"/>
            <a:ext cx="1430923" cy="804476"/>
          </a:xfrm>
          <a:prstGeom prst="ellipse">
            <a:avLst/>
          </a:prstGeom>
          <a:solidFill>
            <a:srgbClr val="2FC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ea typeface="ＭＳ Ｐゴシック" pitchFamily="48" charset="-128"/>
              </a:rPr>
              <a:t>Food, snack pouches</a:t>
            </a:r>
          </a:p>
        </p:txBody>
      </p:sp>
      <p:sp>
        <p:nvSpPr>
          <p:cNvPr id="24" name="Ellipse 23"/>
          <p:cNvSpPr/>
          <p:nvPr/>
        </p:nvSpPr>
        <p:spPr bwMode="auto">
          <a:xfrm>
            <a:off x="2547956" y="3745506"/>
            <a:ext cx="1430923" cy="804476"/>
          </a:xfrm>
          <a:prstGeom prst="ellipse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48" charset="-128"/>
              </a:rPr>
              <a:t>Adhesive tapes</a:t>
            </a:r>
          </a:p>
        </p:txBody>
      </p:sp>
      <p:sp>
        <p:nvSpPr>
          <p:cNvPr id="25" name="Ellipse 24"/>
          <p:cNvSpPr/>
          <p:nvPr/>
        </p:nvSpPr>
        <p:spPr bwMode="auto">
          <a:xfrm>
            <a:off x="7009270" y="1911249"/>
            <a:ext cx="1686905" cy="804476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ＭＳ Ｐゴシック" pitchFamily="48" charset="-128"/>
              </a:rPr>
              <a:t>Outdoor bags, pallet hood</a:t>
            </a:r>
          </a:p>
        </p:txBody>
      </p:sp>
      <p:cxnSp>
        <p:nvCxnSpPr>
          <p:cNvPr id="26" name="Connecteur droit avec flèche 25"/>
          <p:cNvCxnSpPr>
            <a:stCxn id="36" idx="2"/>
            <a:endCxn id="16" idx="6"/>
          </p:cNvCxnSpPr>
          <p:nvPr/>
        </p:nvCxnSpPr>
        <p:spPr bwMode="auto">
          <a:xfrm flipH="1">
            <a:off x="1988600" y="2291761"/>
            <a:ext cx="1419717" cy="56076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CC66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7" name="Connecteur droit avec flèche 26"/>
          <p:cNvCxnSpPr/>
          <p:nvPr/>
        </p:nvCxnSpPr>
        <p:spPr bwMode="auto">
          <a:xfrm flipH="1" flipV="1">
            <a:off x="1782043" y="1662241"/>
            <a:ext cx="2589430" cy="629521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CC66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8" name="Connecteur droit avec flèche 27"/>
          <p:cNvCxnSpPr/>
          <p:nvPr/>
        </p:nvCxnSpPr>
        <p:spPr bwMode="auto">
          <a:xfrm flipH="1" flipV="1">
            <a:off x="3127520" y="1121902"/>
            <a:ext cx="1264109" cy="1169859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CC66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Connecteur droit avec flèche 28"/>
          <p:cNvCxnSpPr/>
          <p:nvPr/>
        </p:nvCxnSpPr>
        <p:spPr bwMode="auto">
          <a:xfrm flipV="1">
            <a:off x="4389222" y="1032442"/>
            <a:ext cx="1711948" cy="1257981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CC66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0" name="Connecteur droit avec flèche 29"/>
          <p:cNvCxnSpPr/>
          <p:nvPr/>
        </p:nvCxnSpPr>
        <p:spPr bwMode="auto">
          <a:xfrm flipH="1" flipV="1">
            <a:off x="2071893" y="1236411"/>
            <a:ext cx="2299579" cy="1077075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CC66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1" name="Connecteur droit avec flèche 30"/>
          <p:cNvCxnSpPr/>
          <p:nvPr/>
        </p:nvCxnSpPr>
        <p:spPr bwMode="auto">
          <a:xfrm flipV="1">
            <a:off x="4481003" y="1261460"/>
            <a:ext cx="2246386" cy="1052027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CC66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2" name="Connecteur droit avec flèche 31"/>
          <p:cNvCxnSpPr/>
          <p:nvPr/>
        </p:nvCxnSpPr>
        <p:spPr bwMode="auto">
          <a:xfrm flipV="1">
            <a:off x="4389221" y="1694446"/>
            <a:ext cx="2696008" cy="597313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CC66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3" name="Connecteur droit avec flèche 32"/>
          <p:cNvCxnSpPr/>
          <p:nvPr/>
        </p:nvCxnSpPr>
        <p:spPr bwMode="auto">
          <a:xfrm flipH="1" flipV="1">
            <a:off x="4029785" y="1033325"/>
            <a:ext cx="361844" cy="1257097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CC66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4" name="Connecteur droit avec flèche 33"/>
          <p:cNvCxnSpPr/>
          <p:nvPr/>
        </p:nvCxnSpPr>
        <p:spPr bwMode="auto">
          <a:xfrm>
            <a:off x="4389221" y="2290421"/>
            <a:ext cx="2282059" cy="548969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CC6600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64" name="Groupe 63"/>
          <p:cNvGrpSpPr/>
          <p:nvPr/>
        </p:nvGrpSpPr>
        <p:grpSpPr>
          <a:xfrm>
            <a:off x="3408316" y="1769728"/>
            <a:ext cx="1926314" cy="1041389"/>
            <a:chOff x="3160815" y="1769146"/>
            <a:chExt cx="1926314" cy="1042144"/>
          </a:xfrm>
        </p:grpSpPr>
        <p:sp>
          <p:nvSpPr>
            <p:cNvPr id="35" name="Ellipse 34"/>
            <p:cNvSpPr/>
            <p:nvPr/>
          </p:nvSpPr>
          <p:spPr bwMode="auto">
            <a:xfrm>
              <a:off x="3160815" y="1769146"/>
              <a:ext cx="1926313" cy="1042143"/>
            </a:xfrm>
            <a:prstGeom prst="ellipse">
              <a:avLst/>
            </a:prstGeom>
            <a:solidFill>
              <a:srgbClr val="FFFFFF"/>
            </a:soli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705" tIns="34353" rIns="68705" bIns="34353" numCol="1" rtlCol="0" anchor="ctr" anchorCtr="1" compatLnSpc="1">
              <a:prstTxWarp prst="textNoShape">
                <a:avLst/>
              </a:prstTxWarp>
            </a:bodyPr>
            <a:lstStyle/>
            <a:p>
              <a:pPr algn="ctr" defTabSz="91411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2855" b="1" dirty="0">
                <a:latin typeface="Calibri" panose="020F0502020204030204" pitchFamily="34" charset="0"/>
                <a:ea typeface="ＭＳ Ｐゴシック" pitchFamily="48" charset="-128"/>
              </a:endParaRPr>
            </a:p>
          </p:txBody>
        </p:sp>
        <p:sp>
          <p:nvSpPr>
            <p:cNvPr id="36" name="Ellipse 35"/>
            <p:cNvSpPr/>
            <p:nvPr/>
          </p:nvSpPr>
          <p:spPr bwMode="auto">
            <a:xfrm>
              <a:off x="3160816" y="1771823"/>
              <a:ext cx="1926313" cy="1039467"/>
            </a:xfrm>
            <a:prstGeom prst="ellipse">
              <a:avLst/>
            </a:prstGeom>
            <a:solidFill>
              <a:srgbClr val="D2A000">
                <a:alpha val="49020"/>
              </a:srgbClr>
            </a:solidFill>
            <a:ln w="38100" cap="flat" cmpd="sng" algn="ctr">
              <a:solidFill>
                <a:srgbClr val="CC6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705" tIns="34353" rIns="68705" bIns="34353" numCol="1" rtlCol="0" anchor="ctr" anchorCtr="1" compatLnSpc="1">
              <a:prstTxWarp prst="textNoShape">
                <a:avLst/>
              </a:prstTxWarp>
            </a:bodyPr>
            <a:lstStyle/>
            <a:p>
              <a:pPr algn="ctr" defTabSz="91411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2855" b="1" dirty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  <a:ea typeface="ＭＳ Ｐゴシック" pitchFamily="48" charset="-128"/>
                </a:rPr>
                <a:t>PE</a:t>
              </a:r>
            </a:p>
          </p:txBody>
        </p:sp>
      </p:grpSp>
      <p:cxnSp>
        <p:nvCxnSpPr>
          <p:cNvPr id="37" name="Connecteur droit avec flèche 36"/>
          <p:cNvCxnSpPr/>
          <p:nvPr/>
        </p:nvCxnSpPr>
        <p:spPr bwMode="auto">
          <a:xfrm flipH="1">
            <a:off x="2439036" y="3100470"/>
            <a:ext cx="597736" cy="178634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54822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8" name="Ellipse 37"/>
          <p:cNvSpPr/>
          <p:nvPr/>
        </p:nvSpPr>
        <p:spPr bwMode="auto">
          <a:xfrm>
            <a:off x="2957990" y="2607023"/>
            <a:ext cx="1329048" cy="691425"/>
          </a:xfrm>
          <a:prstGeom prst="ellipse">
            <a:avLst/>
          </a:prstGeom>
          <a:solidFill>
            <a:srgbClr val="7BA72B">
              <a:alpha val="49020"/>
            </a:srgbClr>
          </a:solidFill>
          <a:ln w="38100" cap="flat" cmpd="sng" algn="ctr">
            <a:solidFill>
              <a:srgbClr val="54822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 defTabSz="9141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855" b="1" dirty="0">
                <a:solidFill>
                  <a:srgbClr val="43661C"/>
                </a:solidFill>
                <a:latin typeface="Calibri" panose="020F0502020204030204" pitchFamily="34" charset="0"/>
                <a:ea typeface="ＭＳ Ｐゴシック" pitchFamily="48" charset="-128"/>
              </a:rPr>
              <a:t>Foil</a:t>
            </a:r>
          </a:p>
        </p:txBody>
      </p:sp>
      <p:sp>
        <p:nvSpPr>
          <p:cNvPr id="39" name="Ellipse 38"/>
          <p:cNvSpPr/>
          <p:nvPr/>
        </p:nvSpPr>
        <p:spPr bwMode="auto">
          <a:xfrm>
            <a:off x="4079957" y="2670019"/>
            <a:ext cx="1811500" cy="898200"/>
          </a:xfrm>
          <a:prstGeom prst="ellipse">
            <a:avLst/>
          </a:prstGeom>
          <a:solidFill>
            <a:srgbClr val="00B0F0">
              <a:alpha val="49020"/>
            </a:srgbClr>
          </a:solidFill>
          <a:ln w="381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 defTabSz="914113" eaLnBrk="0" fontAlgn="base" hangingPunct="0">
              <a:lnSpc>
                <a:spcPts val="2799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2855" b="1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ea typeface="ＭＳ Ｐゴシック" pitchFamily="48" charset="-128"/>
              </a:rPr>
              <a:t>Other films</a:t>
            </a:r>
          </a:p>
        </p:txBody>
      </p:sp>
      <p:cxnSp>
        <p:nvCxnSpPr>
          <p:cNvPr id="40" name="Connecteur droit avec flèche 39"/>
          <p:cNvCxnSpPr>
            <a:stCxn id="39" idx="3"/>
            <a:endCxn id="24" idx="7"/>
          </p:cNvCxnSpPr>
          <p:nvPr/>
        </p:nvCxnSpPr>
        <p:spPr bwMode="auto">
          <a:xfrm flipH="1">
            <a:off x="3769325" y="3436682"/>
            <a:ext cx="575920" cy="426637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1" name="Connecteur droit avec flèche 40"/>
          <p:cNvCxnSpPr/>
          <p:nvPr/>
        </p:nvCxnSpPr>
        <p:spPr bwMode="auto">
          <a:xfrm flipH="1">
            <a:off x="4458685" y="3551635"/>
            <a:ext cx="297007" cy="626220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2" name="Connecteur droit avec flèche 41"/>
          <p:cNvCxnSpPr/>
          <p:nvPr/>
        </p:nvCxnSpPr>
        <p:spPr bwMode="auto">
          <a:xfrm>
            <a:off x="5167207" y="3551634"/>
            <a:ext cx="225439" cy="597593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3" name="Connecteur droit avec flèche 42"/>
          <p:cNvCxnSpPr>
            <a:endCxn id="17" idx="1"/>
          </p:cNvCxnSpPr>
          <p:nvPr/>
        </p:nvCxnSpPr>
        <p:spPr bwMode="auto">
          <a:xfrm>
            <a:off x="5485685" y="3487224"/>
            <a:ext cx="669416" cy="493908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4" name="Ellipse 43"/>
          <p:cNvSpPr/>
          <p:nvPr/>
        </p:nvSpPr>
        <p:spPr bwMode="auto">
          <a:xfrm>
            <a:off x="4345246" y="402572"/>
            <a:ext cx="1588680" cy="804476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08" tIns="45704" rIns="91408" bIns="45704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GB" sz="1653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ＭＳ Ｐゴシック" pitchFamily="48" charset="-128"/>
              </a:rPr>
              <a:t>Metallised gift wra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341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pplications space – examples</a:t>
            </a:r>
            <a:endParaRPr lang="en-GB" dirty="0"/>
          </a:p>
        </p:txBody>
      </p:sp>
      <p:grpSp>
        <p:nvGrpSpPr>
          <p:cNvPr id="4" name="Groupe 3"/>
          <p:cNvGrpSpPr/>
          <p:nvPr/>
        </p:nvGrpSpPr>
        <p:grpSpPr>
          <a:xfrm>
            <a:off x="3695887" y="3004599"/>
            <a:ext cx="1714263" cy="1656466"/>
            <a:chOff x="9528361" y="547649"/>
            <a:chExt cx="2108985" cy="2016281"/>
          </a:xfrm>
        </p:grpSpPr>
        <p:sp>
          <p:nvSpPr>
            <p:cNvPr id="24" name="Rectangle 23"/>
            <p:cNvSpPr/>
            <p:nvPr/>
          </p:nvSpPr>
          <p:spPr>
            <a:xfrm>
              <a:off x="9528361" y="547650"/>
              <a:ext cx="2108985" cy="2016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88900" dist="50800" dir="4200000" algn="t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3"/>
            </a:p>
          </p:txBody>
        </p:sp>
        <p:pic>
          <p:nvPicPr>
            <p:cNvPr id="56" name="Picture 21" descr="25062011136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86630" y="1046280"/>
              <a:ext cx="1793191" cy="1342974"/>
            </a:xfrm>
            <a:prstGeom prst="rect">
              <a:avLst/>
            </a:prstGeom>
            <a:noFill/>
            <a:ln>
              <a:solidFill>
                <a:schemeClr val="bg2">
                  <a:lumMod val="9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" name="Text Box 22"/>
            <p:cNvSpPr txBox="1">
              <a:spLocks noChangeArrowheads="1"/>
            </p:cNvSpPr>
            <p:nvPr/>
          </p:nvSpPr>
          <p:spPr bwMode="auto">
            <a:xfrm>
              <a:off x="9528361" y="547649"/>
              <a:ext cx="2108985" cy="4219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1400" tIns="45700" rIns="91400" bIns="4570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653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verse on PE</a:t>
              </a:r>
            </a:p>
          </p:txBody>
        </p:sp>
      </p:grpSp>
      <p:grpSp>
        <p:nvGrpSpPr>
          <p:cNvPr id="7" name="Groupe 6"/>
          <p:cNvGrpSpPr/>
          <p:nvPr/>
        </p:nvGrpSpPr>
        <p:grpSpPr>
          <a:xfrm>
            <a:off x="1653162" y="1082559"/>
            <a:ext cx="1872615" cy="1754032"/>
            <a:chOff x="8981542" y="72192"/>
            <a:chExt cx="2492269" cy="2334446"/>
          </a:xfrm>
        </p:grpSpPr>
        <p:sp>
          <p:nvSpPr>
            <p:cNvPr id="23" name="Rectangle 22"/>
            <p:cNvSpPr/>
            <p:nvPr/>
          </p:nvSpPr>
          <p:spPr>
            <a:xfrm>
              <a:off x="8981543" y="72192"/>
              <a:ext cx="2492268" cy="23344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88900" dist="50800" dir="4200000" algn="t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3"/>
            </a:p>
          </p:txBody>
        </p:sp>
        <p:pic>
          <p:nvPicPr>
            <p:cNvPr id="58" name="Picture 23" descr="CROQUETTE 25062011178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50000"/>
                      </a14:imgEffect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27454" y="580507"/>
              <a:ext cx="2214163" cy="16574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Text Box 24"/>
            <p:cNvSpPr txBox="1">
              <a:spLocks noChangeArrowheads="1"/>
            </p:cNvSpPr>
            <p:nvPr/>
          </p:nvSpPr>
          <p:spPr bwMode="auto">
            <a:xfrm>
              <a:off x="8981542" y="78483"/>
              <a:ext cx="2486707" cy="799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1400" tIns="45700" rIns="91400" bIns="4570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653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amination PET/PE</a:t>
              </a:r>
            </a:p>
          </p:txBody>
        </p:sp>
      </p:grpSp>
      <p:grpSp>
        <p:nvGrpSpPr>
          <p:cNvPr id="8" name="Groupe 7"/>
          <p:cNvGrpSpPr/>
          <p:nvPr/>
        </p:nvGrpSpPr>
        <p:grpSpPr>
          <a:xfrm>
            <a:off x="3695583" y="1072094"/>
            <a:ext cx="1893715" cy="1767261"/>
            <a:chOff x="9253327" y="4414481"/>
            <a:chExt cx="2520350" cy="2352052"/>
          </a:xfrm>
        </p:grpSpPr>
        <p:sp>
          <p:nvSpPr>
            <p:cNvPr id="25" name="Rectangle 24"/>
            <p:cNvSpPr/>
            <p:nvPr/>
          </p:nvSpPr>
          <p:spPr>
            <a:xfrm>
              <a:off x="9253327" y="4414481"/>
              <a:ext cx="2520350" cy="23520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88900" dist="50800" dir="4200000" algn="t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3"/>
            </a:p>
          </p:txBody>
        </p:sp>
        <p:pic>
          <p:nvPicPr>
            <p:cNvPr id="60" name="Picture 25" descr="25062011160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harpenSoften amount="50000"/>
                      </a14:imgEffect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28900" y="4944915"/>
              <a:ext cx="2202436" cy="1650632"/>
            </a:xfrm>
            <a:prstGeom prst="rect">
              <a:avLst/>
            </a:prstGeom>
            <a:noFill/>
            <a:ln>
              <a:solidFill>
                <a:schemeClr val="bg2">
                  <a:lumMod val="9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1" name="Text Box 26"/>
            <p:cNvSpPr txBox="1">
              <a:spLocks noChangeArrowheads="1"/>
            </p:cNvSpPr>
            <p:nvPr/>
          </p:nvSpPr>
          <p:spPr bwMode="auto">
            <a:xfrm>
              <a:off x="9253327" y="4428409"/>
              <a:ext cx="2520349" cy="799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1400" tIns="45700" rIns="91400" bIns="4570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653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verse on Sleeves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 rot="5400000">
            <a:off x="-170712" y="1545720"/>
            <a:ext cx="2126993" cy="1190335"/>
            <a:chOff x="5868857" y="4932479"/>
            <a:chExt cx="2830821" cy="1584220"/>
          </a:xfrm>
        </p:grpSpPr>
        <p:sp>
          <p:nvSpPr>
            <p:cNvPr id="30" name="Rectangle 29"/>
            <p:cNvSpPr/>
            <p:nvPr/>
          </p:nvSpPr>
          <p:spPr>
            <a:xfrm>
              <a:off x="5868857" y="4932479"/>
              <a:ext cx="2830821" cy="1584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88900" dist="50800" dir="4200000" algn="t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3"/>
            </a:p>
          </p:txBody>
        </p:sp>
        <p:pic>
          <p:nvPicPr>
            <p:cNvPr id="62" name="Picture 27" descr="Photo041_1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harpenSoften amount="25000"/>
                      </a14:imgEffect>
                      <a14:imgEffect>
                        <a14:colorTemperature colorTemp="5900"/>
                      </a14:imgEffect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6659444" y="5098687"/>
              <a:ext cx="1866327" cy="1255704"/>
            </a:xfrm>
            <a:prstGeom prst="rect">
              <a:avLst/>
            </a:prstGeom>
            <a:noFill/>
            <a:ln>
              <a:solidFill>
                <a:schemeClr val="bg2">
                  <a:lumMod val="9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Text Box 28"/>
            <p:cNvSpPr txBox="1">
              <a:spLocks noChangeArrowheads="1"/>
            </p:cNvSpPr>
            <p:nvPr/>
          </p:nvSpPr>
          <p:spPr bwMode="auto">
            <a:xfrm rot="16200000">
              <a:off x="5504063" y="5441295"/>
              <a:ext cx="1584220" cy="566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1400" tIns="45700" rIns="91400" bIns="45700">
              <a:spAutoFit/>
            </a:bodyPr>
            <a:lstStyle/>
            <a:p>
              <a:pPr algn="ctr">
                <a:lnSpc>
                  <a:spcPts val="1277"/>
                </a:lnSpc>
                <a:spcBef>
                  <a:spcPct val="50000"/>
                </a:spcBef>
              </a:pPr>
              <a:r>
                <a:rPr lang="en-US" sz="1653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K Compost</a:t>
              </a:r>
            </a:p>
          </p:txBody>
        </p:sp>
      </p:grpSp>
      <p:grpSp>
        <p:nvGrpSpPr>
          <p:cNvPr id="5" name="Groupe 4"/>
          <p:cNvGrpSpPr/>
          <p:nvPr/>
        </p:nvGrpSpPr>
        <p:grpSpPr>
          <a:xfrm>
            <a:off x="5578580" y="3004599"/>
            <a:ext cx="3246368" cy="1824385"/>
            <a:chOff x="4177469" y="548655"/>
            <a:chExt cx="4320600" cy="2428079"/>
          </a:xfrm>
        </p:grpSpPr>
        <p:sp>
          <p:nvSpPr>
            <p:cNvPr id="3" name="Rectangle 2"/>
            <p:cNvSpPr/>
            <p:nvPr/>
          </p:nvSpPr>
          <p:spPr>
            <a:xfrm>
              <a:off x="4177469" y="548655"/>
              <a:ext cx="4320600" cy="24280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88900" dist="50800" dir="4200000" algn="t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3"/>
            </a:p>
          </p:txBody>
        </p:sp>
        <p:sp>
          <p:nvSpPr>
            <p:cNvPr id="48" name="Text Box 11"/>
            <p:cNvSpPr txBox="1">
              <a:spLocks noChangeArrowheads="1"/>
            </p:cNvSpPr>
            <p:nvPr/>
          </p:nvSpPr>
          <p:spPr bwMode="auto">
            <a:xfrm>
              <a:off x="4177469" y="548655"/>
              <a:ext cx="4320600" cy="461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1400" tIns="45700" rIns="91400" bIns="4570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653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irect print on PVDC</a:t>
              </a:r>
            </a:p>
          </p:txBody>
        </p:sp>
        <p:pic>
          <p:nvPicPr>
            <p:cNvPr id="50" name="Picture 13" descr="SP4PVDCCoatJacobsCrackerBiscuitCCP"/>
            <p:cNvPicPr>
              <a:picLocks noChangeAspect="1" noChangeArrowheads="1"/>
            </p:cNvPicPr>
            <p:nvPr/>
          </p:nvPicPr>
          <p:blipFill>
            <a:blip r:embed="rId11" cstate="screen">
              <a:lum bright="18000" contrast="30000"/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1223" y="1973356"/>
              <a:ext cx="2950716" cy="8665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14" descr="SP4PVDCCoatJacobsOrangeCrackersCCP"/>
            <p:cNvPicPr>
              <a:picLocks noChangeAspect="1" noChangeArrowheads="1"/>
            </p:cNvPicPr>
            <p:nvPr/>
          </p:nvPicPr>
          <p:blipFill>
            <a:blip r:embed="rId13" cstate="screen">
              <a:lum bright="12000" contrast="12000"/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3278"/>
            <a:stretch>
              <a:fillRect/>
            </a:stretch>
          </p:blipFill>
          <p:spPr bwMode="auto">
            <a:xfrm>
              <a:off x="5976836" y="1222106"/>
              <a:ext cx="2431197" cy="838256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12" descr="SO4PVDCCoatMcVitRichTeaCCP"/>
            <p:cNvPicPr>
              <a:picLocks noChangeAspect="1" noChangeArrowheads="1"/>
            </p:cNvPicPr>
            <p:nvPr/>
          </p:nvPicPr>
          <p:blipFill>
            <a:blip r:embed="rId15" cstate="screen">
              <a:lum bright="6000" contrast="12000"/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9100" y="998901"/>
              <a:ext cx="2209781" cy="860926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e 10"/>
          <p:cNvGrpSpPr/>
          <p:nvPr/>
        </p:nvGrpSpPr>
        <p:grpSpPr>
          <a:xfrm>
            <a:off x="1657341" y="3004600"/>
            <a:ext cx="1868436" cy="1928142"/>
            <a:chOff x="2013959" y="3878519"/>
            <a:chExt cx="2486707" cy="2566170"/>
          </a:xfrm>
        </p:grpSpPr>
        <p:sp>
          <p:nvSpPr>
            <p:cNvPr id="26" name="Rectangle 25"/>
            <p:cNvSpPr/>
            <p:nvPr/>
          </p:nvSpPr>
          <p:spPr>
            <a:xfrm>
              <a:off x="2013959" y="3878519"/>
              <a:ext cx="2486707" cy="25661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88900" dist="50800" dir="4200000" algn="t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3"/>
            </a:p>
          </p:txBody>
        </p:sp>
        <p:sp>
          <p:nvSpPr>
            <p:cNvPr id="45" name="Text Box 5"/>
            <p:cNvSpPr txBox="1">
              <a:spLocks noChangeArrowheads="1"/>
            </p:cNvSpPr>
            <p:nvPr/>
          </p:nvSpPr>
          <p:spPr bwMode="auto">
            <a:xfrm>
              <a:off x="2013959" y="3941823"/>
              <a:ext cx="2486707" cy="8396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1400" tIns="45700" rIns="91400" bIns="45700">
              <a:spAutoFit/>
            </a:bodyPr>
            <a:lstStyle/>
            <a:p>
              <a:pPr algn="ctr">
                <a:lnSpc>
                  <a:spcPts val="1428"/>
                </a:lnSpc>
                <a:spcBef>
                  <a:spcPct val="50000"/>
                </a:spcBef>
              </a:pPr>
              <a:r>
                <a:rPr lang="en-US" sz="1653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irect on board/PE   or board/PP</a:t>
              </a:r>
            </a:p>
          </p:txBody>
        </p:sp>
        <p:pic>
          <p:nvPicPr>
            <p:cNvPr id="47" name="Picture 10" descr="SPoP&amp;PCBcarrierbags4CCP"/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63933" y="4833127"/>
              <a:ext cx="1320704" cy="1416482"/>
            </a:xfrm>
            <a:prstGeom prst="rect">
              <a:avLst/>
            </a:prstGeom>
            <a:noFill/>
            <a:ln>
              <a:solidFill>
                <a:schemeClr val="bg2">
                  <a:lumMod val="9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8" descr="SPoP&amp;PCBmilkcarton4CCP"/>
            <p:cNvPicPr>
              <a:picLocks noChangeAspect="1" noChangeArrowheads="1"/>
            </p:cNvPicPr>
            <p:nvPr/>
          </p:nvPicPr>
          <p:blipFill rotWithShape="1">
            <a:blip r:embed="rId19" cstate="screen">
              <a:lum bright="6000"/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11470"/>
            <a:stretch/>
          </p:blipFill>
          <p:spPr bwMode="auto">
            <a:xfrm>
              <a:off x="2176635" y="4657946"/>
              <a:ext cx="883205" cy="1466387"/>
            </a:xfrm>
            <a:prstGeom prst="rect">
              <a:avLst/>
            </a:prstGeom>
            <a:noFill/>
            <a:ln>
              <a:solidFill>
                <a:schemeClr val="bg2">
                  <a:lumMod val="9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e 8"/>
          <p:cNvGrpSpPr/>
          <p:nvPr/>
        </p:nvGrpSpPr>
        <p:grpSpPr>
          <a:xfrm>
            <a:off x="5779588" y="684746"/>
            <a:ext cx="3045360" cy="2154609"/>
            <a:chOff x="684137" y="3727972"/>
            <a:chExt cx="4053078" cy="2867575"/>
          </a:xfrm>
        </p:grpSpPr>
        <p:sp>
          <p:nvSpPr>
            <p:cNvPr id="27" name="Rectangle 26"/>
            <p:cNvSpPr/>
            <p:nvPr/>
          </p:nvSpPr>
          <p:spPr>
            <a:xfrm>
              <a:off x="684137" y="3727972"/>
              <a:ext cx="4053078" cy="2867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88900" dist="50800" dir="4200000" algn="t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3"/>
            </a:p>
          </p:txBody>
        </p:sp>
        <p:pic>
          <p:nvPicPr>
            <p:cNvPr id="53" name="Picture 17" descr="JFIstrawberries4CCP"/>
            <p:cNvPicPr>
              <a:picLocks noChangeAspect="1" noChangeArrowheads="1"/>
            </p:cNvPicPr>
            <p:nvPr/>
          </p:nvPicPr>
          <p:blipFill>
            <a:blip r:embed="rId21" cstate="screen">
              <a:lum bright="6000" contrast="12000"/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3610" y="5306859"/>
              <a:ext cx="1976951" cy="1110783"/>
            </a:xfrm>
            <a:prstGeom prst="rect">
              <a:avLst/>
            </a:prstGeom>
            <a:noFill/>
            <a:ln>
              <a:solidFill>
                <a:schemeClr val="bg2">
                  <a:lumMod val="9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18" descr="USFIwowFruit4CCP"/>
            <p:cNvPicPr>
              <a:picLocks noChangeAspect="1" noChangeArrowheads="1"/>
            </p:cNvPicPr>
            <p:nvPr/>
          </p:nvPicPr>
          <p:blipFill>
            <a:blip r:embed="rId23" cstate="screen">
              <a:lum bright="6000" contrast="12000"/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7488" y="4538561"/>
              <a:ext cx="2489032" cy="1051946"/>
            </a:xfrm>
            <a:prstGeom prst="rect">
              <a:avLst/>
            </a:prstGeom>
            <a:noFill/>
            <a:ln>
              <a:solidFill>
                <a:schemeClr val="bg2">
                  <a:lumMod val="9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" name="Text Box 19"/>
            <p:cNvSpPr txBox="1">
              <a:spLocks noChangeArrowheads="1"/>
            </p:cNvSpPr>
            <p:nvPr/>
          </p:nvSpPr>
          <p:spPr bwMode="auto">
            <a:xfrm>
              <a:off x="684137" y="3727972"/>
              <a:ext cx="4053078" cy="461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1400" tIns="45700" rIns="91400" bIns="4570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653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irect print on PE, PP &amp; PET</a:t>
              </a:r>
            </a:p>
          </p:txBody>
        </p:sp>
        <p:pic>
          <p:nvPicPr>
            <p:cNvPr id="52" name="Picture 16" descr="TescoOrangeCakeBarsCCP"/>
            <p:cNvPicPr>
              <a:picLocks noChangeAspect="1" noChangeArrowheads="1"/>
            </p:cNvPicPr>
            <p:nvPr/>
          </p:nvPicPr>
          <p:blipFill>
            <a:blip r:embed="rId25" cstate="screen">
              <a:lum bright="6000" contrast="12000"/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4057" y="4201551"/>
              <a:ext cx="1730725" cy="1135745"/>
            </a:xfrm>
            <a:prstGeom prst="rect">
              <a:avLst/>
            </a:prstGeom>
            <a:noFill/>
            <a:ln>
              <a:solidFill>
                <a:schemeClr val="bg2">
                  <a:lumMod val="9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2388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8,79/20,2/0,27"/>
  <p:tag name="LOCKED" val="1"/>
  <p:tag name="WIZSHAPE" val="WizShape"/>
  <p:tag name="VISIBLE" val="System.Xml.XmlAttribu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0/4,8/19,05"/>
  <p:tag name="LOCKED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13,64/4,8/4,8"/>
  <p:tag name="LOCKED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1,25/12,95/4,8/2,4"/>
  <p:tag name="LOCKED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6/13,6/18,7/2,65"/>
  <p:tag name="LOCKED" val="1"/>
  <p:tag name="WIZSHAPE" val="WizShape"/>
  <p:tag name="VISIBLE" val="System.Xml.XmlAttribu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6/16,25/18,7/1,2"/>
  <p:tag name="LOCKED" val="1"/>
  <p:tag name="WIZSHAPE" val="WizShape"/>
  <p:tag name="VISIBLE" val="System.Xml.XmlAttribu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8/18,66/15/0,27"/>
  <p:tag name="LOCKED" val="1"/>
  <p:tag name="WIZSHAPE" val="WizShape"/>
  <p:tag name="VISIBLE" val="System.Xml.XmlAttribu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6/18,46/2/0,42"/>
  <p:tag name="LOCKED" val="1"/>
  <p:tag name="WIZSHAPE" val="WizShape"/>
  <p:tag name="VISIBLE" val="System.Xml.XmlAttribu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8/18,79/15/0,27"/>
  <p:tag name="LOCKED" val="1"/>
  <p:tag name="WIZSHAPE" val="WizShape"/>
  <p:tag name="VISIBLE" val="System.Xml.XmlAttribu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/0,6/25,39/3,8"/>
  <p:tag name="LOCKED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0,99/0,6/3,8/3,8"/>
  <p:tag name="LOCKED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1,78/19,8/2,37"/>
  <p:tag name="LOCKED" val="1"/>
  <p:tag name="WIZSHAPE" val="WizShape"/>
  <p:tag name="VISIBLE" val="System.Xml.XmlAttribu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5,2/24,2/12,8"/>
  <p:tag name="LOCKED" val="1"/>
  <p:tag name="WIZSHAPE" val="WizShape"/>
  <p:tag name="VISIBLE" val="System.Xml.XmlAttribu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8,66/20,2/0,27"/>
  <p:tag name="LOCKED" val="1"/>
  <p:tag name="WIZSHAPE" val="WizShape"/>
  <p:tag name="VISIBLE" val="System.Xml.XmlAttribu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18,46/2/0,42"/>
  <p:tag name="LOCKED" val="1"/>
  <p:tag name="WIZSHAPE" val="WizShape"/>
  <p:tag name="VISIBLE" val="System.Xml.XmlAttribu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heme/theme1.xml><?xml version="1.0" encoding="utf-8"?>
<a:theme xmlns:a="http://schemas.openxmlformats.org/drawingml/2006/main" name="2_SUN-16-334 Support BASF Event Template">
  <a:themeElements>
    <a:clrScheme name="Sun BASF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F1D20"/>
      </a:accent1>
      <a:accent2>
        <a:srgbClr val="00B0DE"/>
      </a:accent2>
      <a:accent3>
        <a:srgbClr val="00A365"/>
      </a:accent3>
      <a:accent4>
        <a:srgbClr val="FFC000"/>
      </a:accent4>
      <a:accent5>
        <a:srgbClr val="7AB703"/>
      </a:accent5>
      <a:accent6>
        <a:srgbClr val="EB6C00"/>
      </a:accent6>
      <a:hlink>
        <a:srgbClr val="0000FF"/>
      </a:hlink>
      <a:folHlink>
        <a:srgbClr val="89898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SUN-16-334 Support BASF Event Template">
  <a:themeElements>
    <a:clrScheme name="Sun BASF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F1D20"/>
      </a:accent1>
      <a:accent2>
        <a:srgbClr val="00B0DE"/>
      </a:accent2>
      <a:accent3>
        <a:srgbClr val="00A365"/>
      </a:accent3>
      <a:accent4>
        <a:srgbClr val="FFC000"/>
      </a:accent4>
      <a:accent5>
        <a:srgbClr val="7AB703"/>
      </a:accent5>
      <a:accent6>
        <a:srgbClr val="EB6C00"/>
      </a:accent6>
      <a:hlink>
        <a:srgbClr val="0000FF"/>
      </a:hlink>
      <a:folHlink>
        <a:srgbClr val="89898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ASF_FolienDesign">
  <a:themeElements>
    <a:clrScheme name="Larissa">
      <a:dk1>
        <a:srgbClr val="000000"/>
      </a:dk1>
      <a:lt1>
        <a:srgbClr val="FFFFFF"/>
      </a:lt1>
      <a:dk2>
        <a:srgbClr val="000000"/>
      </a:dk2>
      <a:lt2>
        <a:srgbClr val="A9A9A9"/>
      </a:lt2>
      <a:accent1>
        <a:srgbClr val="21A0D2"/>
      </a:accent1>
      <a:accent2>
        <a:srgbClr val="75C4E3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21A0D2"/>
      </a:hlink>
      <a:folHlink>
        <a:srgbClr val="75C4E3"/>
      </a:folHlink>
    </a:clrScheme>
    <a:fontScheme name="Larissa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BASF_TitelDesign">
  <a:themeElements>
    <a:clrScheme name="Larissa">
      <a:dk1>
        <a:srgbClr val="000000"/>
      </a:dk1>
      <a:lt1>
        <a:srgbClr val="FFFFFF"/>
      </a:lt1>
      <a:dk2>
        <a:srgbClr val="000000"/>
      </a:dk2>
      <a:lt2>
        <a:srgbClr val="A9A9A9"/>
      </a:lt2>
      <a:accent1>
        <a:srgbClr val="21A0D2"/>
      </a:accent1>
      <a:accent2>
        <a:srgbClr val="75C4E3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21A0D2"/>
      </a:hlink>
      <a:folHlink>
        <a:srgbClr val="75C4E3"/>
      </a:folHlink>
    </a:clrScheme>
    <a:fontScheme name="Larissa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fontScheme name="Larissa">
    <a:majorFont>
      <a:latin typeface="Arial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Larissa">
    <a:majorFont>
      <a:latin typeface="Arial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UN-16-334 Support BASF Event Template</Template>
  <TotalTime>6793</TotalTime>
  <Words>973</Words>
  <Application>Microsoft Office PowerPoint</Application>
  <PresentationFormat>On-screen Show (16:9)</PresentationFormat>
  <Paragraphs>196</Paragraphs>
  <Slides>20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ＭＳ Ｐゴシック</vt:lpstr>
      <vt:lpstr>A DAY WITHOUT SUN</vt:lpstr>
      <vt:lpstr>Arial</vt:lpstr>
      <vt:lpstr>Arial Black</vt:lpstr>
      <vt:lpstr>Arial Narrow</vt:lpstr>
      <vt:lpstr>Calibri</vt:lpstr>
      <vt:lpstr>Wingdings</vt:lpstr>
      <vt:lpstr>2_SUN-16-334 Support BASF Event Template</vt:lpstr>
      <vt:lpstr>3_SUN-16-334 Support BASF Event Template</vt:lpstr>
      <vt:lpstr>BASF_FolienDesign</vt:lpstr>
      <vt:lpstr>BASF_TitelDesign</vt:lpstr>
      <vt:lpstr>think-cell Folie</vt:lpstr>
      <vt:lpstr>Solvent-less Water based Inks for Non Porous Substrates</vt:lpstr>
      <vt:lpstr>Today</vt:lpstr>
      <vt:lpstr>In Future</vt:lpstr>
      <vt:lpstr>Your choices</vt:lpstr>
      <vt:lpstr>PowerPoint Presentation</vt:lpstr>
      <vt:lpstr>Overall Statement Europe</vt:lpstr>
      <vt:lpstr>Applications Space Water Based Inks for flexible packaging </vt:lpstr>
      <vt:lpstr>PowerPoint Presentation</vt:lpstr>
      <vt:lpstr>Applications space – examples</vt:lpstr>
      <vt:lpstr>What Does Each Technology Offer?</vt:lpstr>
      <vt:lpstr>Summary</vt:lpstr>
      <vt:lpstr>Shift of ink material structure and cost</vt:lpstr>
      <vt:lpstr>Fundamental difference between SB and WB inks: film-forming stage</vt:lpstr>
      <vt:lpstr>Cost matters</vt:lpstr>
      <vt:lpstr>A project that impacts the whole company</vt:lpstr>
      <vt:lpstr>First of all, moving to WB means…</vt:lpstr>
      <vt:lpstr>And then, moving to WB means…</vt:lpstr>
      <vt:lpstr>Conclusions</vt:lpstr>
      <vt:lpstr>Sun Chemical’s Technology concept</vt:lpstr>
      <vt:lpstr>   THANK YOU!           igor.belosic@sunchemical.com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ic Bermond</dc:creator>
  <cp:lastModifiedBy>Belosic, Igor</cp:lastModifiedBy>
  <cp:revision>126</cp:revision>
  <cp:lastPrinted>2016-05-27T11:02:57Z</cp:lastPrinted>
  <dcterms:created xsi:type="dcterms:W3CDTF">2016-05-10T13:51:32Z</dcterms:created>
  <dcterms:modified xsi:type="dcterms:W3CDTF">2016-11-09T10:33:26Z</dcterms:modified>
</cp:coreProperties>
</file>